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08" r:id="rId1"/>
  </p:sldMasterIdLst>
  <p:notesMasterIdLst>
    <p:notesMasterId r:id="rId22"/>
  </p:notesMasterIdLst>
  <p:handoutMasterIdLst>
    <p:handoutMasterId r:id="rId23"/>
  </p:handoutMasterIdLst>
  <p:sldIdLst>
    <p:sldId id="304" r:id="rId2"/>
    <p:sldId id="405" r:id="rId3"/>
    <p:sldId id="412" r:id="rId4"/>
    <p:sldId id="402" r:id="rId5"/>
    <p:sldId id="404" r:id="rId6"/>
    <p:sldId id="414" r:id="rId7"/>
    <p:sldId id="401" r:id="rId8"/>
    <p:sldId id="408" r:id="rId9"/>
    <p:sldId id="409" r:id="rId10"/>
    <p:sldId id="411" r:id="rId11"/>
    <p:sldId id="406" r:id="rId12"/>
    <p:sldId id="417" r:id="rId13"/>
    <p:sldId id="410" r:id="rId14"/>
    <p:sldId id="416" r:id="rId15"/>
    <p:sldId id="419" r:id="rId16"/>
    <p:sldId id="420" r:id="rId17"/>
    <p:sldId id="421" r:id="rId18"/>
    <p:sldId id="422" r:id="rId19"/>
    <p:sldId id="423" r:id="rId20"/>
    <p:sldId id="424" r:id="rId21"/>
  </p:sldIdLst>
  <p:sldSz cx="9906000" cy="6858000" type="A4"/>
  <p:notesSz cx="6797675" cy="9872663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08">
          <p15:clr>
            <a:srgbClr val="A4A3A4"/>
          </p15:clr>
        </p15:guide>
        <p15:guide id="2" orient="horz" pos="4065">
          <p15:clr>
            <a:srgbClr val="A4A3A4"/>
          </p15:clr>
        </p15:guide>
        <p15:guide id="3" pos="217">
          <p15:clr>
            <a:srgbClr val="A4A3A4"/>
          </p15:clr>
        </p15:guide>
        <p15:guide id="4" pos="6023">
          <p15:clr>
            <a:srgbClr val="A4A3A4"/>
          </p15:clr>
        </p15:guide>
        <p15:guide id="5" orient="horz" pos="2568">
          <p15:clr>
            <a:srgbClr val="A4A3A4"/>
          </p15:clr>
        </p15:guide>
        <p15:guide id="6" pos="606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7C80"/>
    <a:srgbClr val="4EDD43"/>
    <a:srgbClr val="ECE9E8"/>
    <a:srgbClr val="5D1738"/>
    <a:srgbClr val="404040"/>
    <a:srgbClr val="D6D0CE"/>
    <a:srgbClr val="766A62"/>
    <a:srgbClr val="595959"/>
    <a:srgbClr val="E9D8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74" autoAdjust="0"/>
    <p:restoredTop sz="99813" autoAdjust="0"/>
  </p:normalViewPr>
  <p:slideViewPr>
    <p:cSldViewPr snapToObjects="1">
      <p:cViewPr>
        <p:scale>
          <a:sx n="90" d="100"/>
          <a:sy n="90" d="100"/>
        </p:scale>
        <p:origin x="-2136" y="-684"/>
      </p:cViewPr>
      <p:guideLst>
        <p:guide orient="horz" pos="708"/>
        <p:guide orient="horz" pos="4065"/>
        <p:guide orient="horz" pos="2568"/>
        <p:guide pos="217"/>
        <p:guide pos="6023"/>
        <p:guide pos="60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3" d="100"/>
          <a:sy n="53" d="100"/>
        </p:scale>
        <p:origin x="2910" y="42"/>
      </p:cViewPr>
      <p:guideLst>
        <p:guide orient="horz" pos="3109"/>
        <p:guide pos="2142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EAF458E-338F-4C79-8E1F-624020FCE313}" type="datetimeFigureOut">
              <a:rPr lang="en-US"/>
              <a:pPr>
                <a:defRPr/>
              </a:pPr>
              <a:t>6/2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Blank.potx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BDED720-39B0-4DAF-9C53-E753DAD284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4642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C54B1F5-60EA-4F7B-BCF7-6B2316863496}" type="datetimeFigureOut">
              <a:rPr lang="en-GB"/>
              <a:pPr>
                <a:defRPr/>
              </a:pPr>
              <a:t>29/06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9775"/>
            <a:ext cx="53498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1" y="4689475"/>
            <a:ext cx="5438775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8E3971F-5A65-4713-8934-77774D1688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596066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-180975" algn="l" rtl="0" eaLnBrk="0" fontAlgn="base" hangingPunct="0">
      <a:spcBef>
        <a:spcPct val="30000"/>
      </a:spcBef>
      <a:spcAft>
        <a:spcPct val="0"/>
      </a:spcAft>
      <a:buClr>
        <a:schemeClr val="accent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8775" indent="-177800" algn="l" rtl="0" eaLnBrk="0" fontAlgn="base" hangingPunct="0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80975" algn="l" rtl="0" eaLnBrk="0" fontAlgn="base" hangingPunct="0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rtl="0" eaLnBrk="0" fontAlgn="base" hangingPunct="0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2" name="Text Box 530"/>
          <p:cNvSpPr txBox="1">
            <a:spLocks noChangeArrowheads="1"/>
          </p:cNvSpPr>
          <p:nvPr userDrawn="1"/>
        </p:nvSpPr>
        <p:spPr bwMode="gray">
          <a:xfrm>
            <a:off x="294085" y="6623051"/>
            <a:ext cx="1503938" cy="203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438150" indent="-174625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860425" indent="-288925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141413" indent="-2794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1457325" indent="-314325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1914525" indent="-314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71725" indent="-314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28925" indent="-314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86125" indent="-314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70000"/>
              </a:spcBef>
            </a:pPr>
            <a:r>
              <a:rPr lang="en-US" sz="800" dirty="0">
                <a:solidFill>
                  <a:srgbClr val="68665C"/>
                </a:solidFill>
              </a:rPr>
              <a:t>© - </a:t>
            </a:r>
            <a:r>
              <a:rPr lang="en-US" sz="800" dirty="0">
                <a:solidFill>
                  <a:srgbClr val="68665C"/>
                </a:solidFill>
                <a:cs typeface="+mn-cs"/>
              </a:rPr>
              <a:t>Copyright Bureau </a:t>
            </a:r>
            <a:r>
              <a:rPr lang="en-US" sz="800" dirty="0" err="1">
                <a:solidFill>
                  <a:srgbClr val="68665C"/>
                </a:solidFill>
                <a:cs typeface="+mn-cs"/>
              </a:rPr>
              <a:t>Veritas</a:t>
            </a:r>
            <a:endParaRPr lang="en-US" sz="800" dirty="0">
              <a:solidFill>
                <a:srgbClr val="68665C"/>
              </a:solidFill>
              <a:cs typeface="+mn-c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99A44-5E15-4771-9D3B-2C76C76C1B94}" type="datetime4">
              <a:rPr lang="en-US" smtClean="0"/>
              <a:t>June 29, 2017</a:t>
            </a:fld>
            <a:endParaRPr lang="en-US" dirty="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  <p:sp>
        <p:nvSpPr>
          <p:cNvPr id="4" name="Date Placeholder 84"/>
          <p:cNvSpPr>
            <a:spLocks noGrp="1"/>
          </p:cNvSpPr>
          <p:nvPr>
            <p:ph type="dt" sz="half" idx="2"/>
          </p:nvPr>
        </p:nvSpPr>
        <p:spPr>
          <a:xfrm>
            <a:off x="7750212" y="6572300"/>
            <a:ext cx="1103221" cy="285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FontTx/>
              <a:buNone/>
              <a:defRPr sz="900" b="1">
                <a:solidFill>
                  <a:srgbClr val="B0002D"/>
                </a:solidFill>
              </a:defRPr>
            </a:lvl1pPr>
          </a:lstStyle>
          <a:p>
            <a:fld id="{C5975D59-01AF-42CA-B1B1-7FFB51EC6EB5}" type="datetime4">
              <a:rPr lang="en-US" smtClean="0"/>
              <a:t>June 29, 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532687"/>
      </p:ext>
    </p:extLst>
  </p:cSld>
  <p:clrMapOvr>
    <a:masterClrMapping/>
  </p:clrMapOvr>
  <p:transition advClick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238604" y="101600"/>
            <a:ext cx="2321719" cy="6084888"/>
          </a:xfrm>
        </p:spPr>
        <p:txBody>
          <a:bodyPr vert="eaVert"/>
          <a:lstStyle/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273448" y="101600"/>
            <a:ext cx="6800056" cy="6084888"/>
          </a:xfrm>
        </p:spPr>
        <p:txBody>
          <a:bodyPr vert="eaVert"/>
          <a:lstStyle/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  <p:sp>
        <p:nvSpPr>
          <p:cNvPr id="4" name="Date Placeholder 84"/>
          <p:cNvSpPr>
            <a:spLocks noGrp="1"/>
          </p:cNvSpPr>
          <p:nvPr>
            <p:ph type="dt" sz="half" idx="2"/>
          </p:nvPr>
        </p:nvSpPr>
        <p:spPr>
          <a:xfrm>
            <a:off x="7750212" y="6572300"/>
            <a:ext cx="1103221" cy="285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FontTx/>
              <a:buNone/>
              <a:defRPr sz="900" b="1">
                <a:solidFill>
                  <a:srgbClr val="B0002D"/>
                </a:solidFill>
              </a:defRPr>
            </a:lvl1pPr>
          </a:lstStyle>
          <a:p>
            <a:fld id="{D66793E9-90C5-4DE3-A595-CDFCF59823A0}" type="datetime4">
              <a:rPr lang="en-US" smtClean="0"/>
              <a:t>June 29, 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315100"/>
      </p:ext>
    </p:extLst>
  </p:cSld>
  <p:clrMapOvr>
    <a:masterClrMapping/>
  </p:clrMapOvr>
  <p:transition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ttp://www.cliffordchance.com/etc/designs/cc2014/images/worldmap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t="1423"/>
          <a:stretch/>
        </p:blipFill>
        <p:spPr bwMode="auto">
          <a:xfrm>
            <a:off x="3438" y="836640"/>
            <a:ext cx="9902561" cy="5727268"/>
          </a:xfrm>
          <a:prstGeom prst="rect">
            <a:avLst/>
          </a:prstGeom>
          <a:noFill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  <p:sp>
        <p:nvSpPr>
          <p:cNvPr id="4" name="Date Placeholder 84"/>
          <p:cNvSpPr>
            <a:spLocks noGrp="1"/>
          </p:cNvSpPr>
          <p:nvPr>
            <p:ph type="dt" sz="half" idx="2"/>
          </p:nvPr>
        </p:nvSpPr>
        <p:spPr>
          <a:xfrm>
            <a:off x="7750212" y="6572300"/>
            <a:ext cx="1103221" cy="285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FontTx/>
              <a:buNone/>
              <a:defRPr sz="900" b="1">
                <a:solidFill>
                  <a:srgbClr val="B0002D"/>
                </a:solidFill>
              </a:defRPr>
            </a:lvl1pPr>
          </a:lstStyle>
          <a:p>
            <a:fld id="{00D9CA02-BD34-41EE-A831-D339034D6565}" type="datetime4">
              <a:rPr lang="en-US" smtClean="0"/>
              <a:t>June 29, 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240702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</p:txBody>
      </p:sp>
      <p:sp>
        <p:nvSpPr>
          <p:cNvPr id="4" name="Date Placeholder 84"/>
          <p:cNvSpPr>
            <a:spLocks noGrp="1"/>
          </p:cNvSpPr>
          <p:nvPr>
            <p:ph type="dt" sz="half" idx="2"/>
          </p:nvPr>
        </p:nvSpPr>
        <p:spPr>
          <a:xfrm>
            <a:off x="7750212" y="6572300"/>
            <a:ext cx="1103221" cy="285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FontTx/>
              <a:buNone/>
              <a:defRPr sz="900" b="1">
                <a:solidFill>
                  <a:srgbClr val="B0002D"/>
                </a:solidFill>
              </a:defRPr>
            </a:lvl1pPr>
          </a:lstStyle>
          <a:p>
            <a:fld id="{C9026756-4F1C-47D8-98BF-5B9E1157E9A3}" type="datetime4">
              <a:rPr lang="en-US" smtClean="0"/>
              <a:t>June 29, 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705840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88926" y="987425"/>
            <a:ext cx="4552289" cy="5199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06314" y="987425"/>
            <a:ext cx="4554008" cy="5199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  <p:sp>
        <p:nvSpPr>
          <p:cNvPr id="5" name="Date Placeholder 84"/>
          <p:cNvSpPr>
            <a:spLocks noGrp="1"/>
          </p:cNvSpPr>
          <p:nvPr>
            <p:ph type="dt" sz="half" idx="10"/>
          </p:nvPr>
        </p:nvSpPr>
        <p:spPr>
          <a:xfrm>
            <a:off x="7750212" y="6572300"/>
            <a:ext cx="1103221" cy="285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FontTx/>
              <a:buNone/>
              <a:defRPr sz="900" b="1">
                <a:solidFill>
                  <a:srgbClr val="B0002D"/>
                </a:solidFill>
              </a:defRPr>
            </a:lvl1pPr>
          </a:lstStyle>
          <a:p>
            <a:fld id="{FFF1DC37-4916-4C36-A627-2129A3EACBC9}" type="datetime4">
              <a:rPr lang="en-US" smtClean="0"/>
              <a:t>June 29, 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011883"/>
      </p:ext>
    </p:extLst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  <p:sp>
        <p:nvSpPr>
          <p:cNvPr id="7" name="Date Placeholder 84"/>
          <p:cNvSpPr>
            <a:spLocks noGrp="1"/>
          </p:cNvSpPr>
          <p:nvPr>
            <p:ph type="dt" sz="half" idx="10"/>
          </p:nvPr>
        </p:nvSpPr>
        <p:spPr>
          <a:xfrm>
            <a:off x="7750212" y="6572300"/>
            <a:ext cx="1103221" cy="285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FontTx/>
              <a:buNone/>
              <a:defRPr sz="900" b="1">
                <a:solidFill>
                  <a:srgbClr val="B0002D"/>
                </a:solidFill>
              </a:defRPr>
            </a:lvl1pPr>
          </a:lstStyle>
          <a:p>
            <a:fld id="{8A15E1DF-F52C-44E3-9764-93A3A1458070}" type="datetime4">
              <a:rPr lang="en-US" smtClean="0"/>
              <a:t>June 29, 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16090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Date Placeholder 84"/>
          <p:cNvSpPr>
            <a:spLocks noGrp="1"/>
          </p:cNvSpPr>
          <p:nvPr>
            <p:ph type="dt" sz="half" idx="2"/>
          </p:nvPr>
        </p:nvSpPr>
        <p:spPr>
          <a:xfrm>
            <a:off x="7750212" y="6572300"/>
            <a:ext cx="1103221" cy="285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FontTx/>
              <a:buNone/>
              <a:defRPr sz="900" b="1">
                <a:solidFill>
                  <a:srgbClr val="B0002D"/>
                </a:solidFill>
              </a:defRPr>
            </a:lvl1pPr>
          </a:lstStyle>
          <a:p>
            <a:fld id="{AFA44B14-AA2B-49F0-A517-EC2F331443C5}" type="datetime4">
              <a:rPr lang="en-US" smtClean="0"/>
              <a:t>June 29, 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686763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84"/>
          <p:cNvSpPr>
            <a:spLocks noGrp="1"/>
          </p:cNvSpPr>
          <p:nvPr>
            <p:ph type="dt" sz="half" idx="2"/>
          </p:nvPr>
        </p:nvSpPr>
        <p:spPr>
          <a:xfrm>
            <a:off x="7750212" y="6572300"/>
            <a:ext cx="1103221" cy="285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FontTx/>
              <a:buNone/>
              <a:defRPr sz="900" b="1">
                <a:solidFill>
                  <a:srgbClr val="B0002D"/>
                </a:solidFill>
              </a:defRPr>
            </a:lvl1pPr>
          </a:lstStyle>
          <a:p>
            <a:fld id="{F5253BF1-31DF-4D79-BCA6-8B37492C3BA9}" type="datetime4">
              <a:rPr lang="en-US" smtClean="0"/>
              <a:t>June 29, 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411076"/>
      </p:ext>
    </p:extLst>
  </p:cSld>
  <p:clrMapOvr>
    <a:masterClrMapping/>
  </p:clrMapOvr>
  <p:transition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</p:txBody>
      </p:sp>
      <p:sp>
        <p:nvSpPr>
          <p:cNvPr id="5" name="Date Placeholder 84"/>
          <p:cNvSpPr>
            <a:spLocks noGrp="1"/>
          </p:cNvSpPr>
          <p:nvPr>
            <p:ph type="dt" sz="half" idx="10"/>
          </p:nvPr>
        </p:nvSpPr>
        <p:spPr>
          <a:xfrm>
            <a:off x="7750212" y="6572300"/>
            <a:ext cx="1103221" cy="285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FontTx/>
              <a:buNone/>
              <a:defRPr sz="900" b="1">
                <a:solidFill>
                  <a:srgbClr val="B0002D"/>
                </a:solidFill>
              </a:defRPr>
            </a:lvl1pPr>
          </a:lstStyle>
          <a:p>
            <a:fld id="{6377B6F4-F221-49D3-9C10-C85E22E8C46C}" type="datetime4">
              <a:rPr lang="en-US" smtClean="0"/>
              <a:t>June 29, 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568130"/>
      </p:ext>
    </p:extLst>
  </p:cSld>
  <p:clrMapOvr>
    <a:masterClrMapping/>
  </p:clrMapOvr>
  <p:transition advClick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err="1" smtClean="0"/>
              <a:t>Cliquez</a:t>
            </a:r>
            <a:r>
              <a:rPr lang="en-US" dirty="0" smtClean="0"/>
              <a:t> sur </a:t>
            </a:r>
            <a:r>
              <a:rPr lang="en-US" dirty="0" err="1" smtClean="0"/>
              <a:t>l'icône</a:t>
            </a:r>
            <a:r>
              <a:rPr lang="en-US" dirty="0" smtClean="0"/>
              <a:t> pour </a:t>
            </a:r>
            <a:r>
              <a:rPr lang="en-US" dirty="0" err="1" smtClean="0"/>
              <a:t>ajouter</a:t>
            </a:r>
            <a:r>
              <a:rPr lang="en-US" dirty="0" smtClean="0"/>
              <a:t> </a:t>
            </a:r>
            <a:r>
              <a:rPr lang="en-US" dirty="0" err="1" smtClean="0"/>
              <a:t>une</a:t>
            </a:r>
            <a:r>
              <a:rPr lang="en-US" dirty="0" smtClean="0"/>
              <a:t> image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</p:txBody>
      </p:sp>
      <p:sp>
        <p:nvSpPr>
          <p:cNvPr id="5" name="Date Placeholder 84"/>
          <p:cNvSpPr>
            <a:spLocks noGrp="1"/>
          </p:cNvSpPr>
          <p:nvPr>
            <p:ph type="dt" sz="half" idx="10"/>
          </p:nvPr>
        </p:nvSpPr>
        <p:spPr>
          <a:xfrm>
            <a:off x="7750212" y="6572300"/>
            <a:ext cx="1103221" cy="285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FontTx/>
              <a:buNone/>
              <a:defRPr sz="900" b="1">
                <a:solidFill>
                  <a:srgbClr val="B0002D"/>
                </a:solidFill>
              </a:defRPr>
            </a:lvl1pPr>
          </a:lstStyle>
          <a:p>
            <a:fld id="{D9F74579-2A27-4F3A-B187-9FA305F06348}" type="datetime4">
              <a:rPr lang="en-US" smtClean="0"/>
              <a:t>June 29, 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323577"/>
      </p:ext>
    </p:extLst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Picture 87" descr="http://www.cliffordchance.com/etc/designs/cc2014/images/worldmap.jpg"/>
          <p:cNvPicPr>
            <a:picLocks noChangeAspect="1" noChangeArrowheads="1"/>
          </p:cNvPicPr>
          <p:nvPr userDrawn="1"/>
        </p:nvPicPr>
        <p:blipFill rotWithShape="1">
          <a:blip r:embed="rId15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t="1423"/>
          <a:stretch/>
        </p:blipFill>
        <p:spPr bwMode="auto">
          <a:xfrm>
            <a:off x="3438" y="836640"/>
            <a:ext cx="9902561" cy="5727268"/>
          </a:xfrm>
          <a:prstGeom prst="rect">
            <a:avLst/>
          </a:prstGeom>
          <a:noFill/>
        </p:spPr>
      </p:pic>
      <p:graphicFrame>
        <p:nvGraphicFramePr>
          <p:cNvPr id="86" name="Object 85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3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73447" y="101600"/>
            <a:ext cx="8550804" cy="654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Cliquez</a:t>
            </a:r>
            <a:r>
              <a:rPr lang="en-US" dirty="0" smtClean="0"/>
              <a:t> pour modifier le style du </a:t>
            </a:r>
            <a:r>
              <a:rPr lang="en-US" dirty="0" err="1" smtClean="0"/>
              <a:t>titr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88926" y="987425"/>
            <a:ext cx="9271397" cy="5199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Cliquez</a:t>
            </a:r>
            <a:r>
              <a:rPr lang="en-US" dirty="0" smtClean="0"/>
              <a:t> pour modifier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</p:txBody>
      </p:sp>
      <p:sp>
        <p:nvSpPr>
          <p:cNvPr id="1036" name="Rectangle 12"/>
          <p:cNvSpPr>
            <a:spLocks noChangeArrowheads="1"/>
          </p:cNvSpPr>
          <p:nvPr/>
        </p:nvSpPr>
        <p:spPr bwMode="gray">
          <a:xfrm>
            <a:off x="0" y="793751"/>
            <a:ext cx="9555163" cy="17463"/>
          </a:xfrm>
          <a:prstGeom prst="rect">
            <a:avLst/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83" name="Rectangle 359"/>
          <p:cNvSpPr>
            <a:spLocks noChangeArrowheads="1"/>
          </p:cNvSpPr>
          <p:nvPr/>
        </p:nvSpPr>
        <p:spPr bwMode="gray">
          <a:xfrm>
            <a:off x="9355667" y="128589"/>
            <a:ext cx="0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84" name="Freeform 360"/>
          <p:cNvSpPr>
            <a:spLocks/>
          </p:cNvSpPr>
          <p:nvPr/>
        </p:nvSpPr>
        <p:spPr bwMode="gray">
          <a:xfrm>
            <a:off x="9355667" y="12858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85" name="Freeform 361"/>
          <p:cNvSpPr>
            <a:spLocks/>
          </p:cNvSpPr>
          <p:nvPr/>
        </p:nvSpPr>
        <p:spPr bwMode="gray">
          <a:xfrm>
            <a:off x="9355667" y="12858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86" name="Freeform 362"/>
          <p:cNvSpPr>
            <a:spLocks/>
          </p:cNvSpPr>
          <p:nvPr/>
        </p:nvSpPr>
        <p:spPr bwMode="gray">
          <a:xfrm>
            <a:off x="9355667" y="12858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87" name="Freeform 363"/>
          <p:cNvSpPr>
            <a:spLocks/>
          </p:cNvSpPr>
          <p:nvPr/>
        </p:nvSpPr>
        <p:spPr bwMode="gray">
          <a:xfrm>
            <a:off x="9230123" y="117475"/>
            <a:ext cx="423069" cy="482600"/>
          </a:xfrm>
          <a:custGeom>
            <a:avLst/>
            <a:gdLst>
              <a:gd name="T0" fmla="*/ 274 w 546"/>
              <a:gd name="T1" fmla="*/ 680 h 680"/>
              <a:gd name="T2" fmla="*/ 302 w 546"/>
              <a:gd name="T3" fmla="*/ 678 h 680"/>
              <a:gd name="T4" fmla="*/ 358 w 546"/>
              <a:gd name="T5" fmla="*/ 670 h 680"/>
              <a:gd name="T6" fmla="*/ 384 w 546"/>
              <a:gd name="T7" fmla="*/ 664 h 680"/>
              <a:gd name="T8" fmla="*/ 412 w 546"/>
              <a:gd name="T9" fmla="*/ 652 h 680"/>
              <a:gd name="T10" fmla="*/ 448 w 546"/>
              <a:gd name="T11" fmla="*/ 626 h 680"/>
              <a:gd name="T12" fmla="*/ 470 w 546"/>
              <a:gd name="T13" fmla="*/ 604 h 680"/>
              <a:gd name="T14" fmla="*/ 478 w 546"/>
              <a:gd name="T15" fmla="*/ 592 h 680"/>
              <a:gd name="T16" fmla="*/ 492 w 546"/>
              <a:gd name="T17" fmla="*/ 570 h 680"/>
              <a:gd name="T18" fmla="*/ 514 w 546"/>
              <a:gd name="T19" fmla="*/ 516 h 680"/>
              <a:gd name="T20" fmla="*/ 534 w 546"/>
              <a:gd name="T21" fmla="*/ 450 h 680"/>
              <a:gd name="T22" fmla="*/ 544 w 546"/>
              <a:gd name="T23" fmla="*/ 378 h 680"/>
              <a:gd name="T24" fmla="*/ 546 w 546"/>
              <a:gd name="T25" fmla="*/ 340 h 680"/>
              <a:gd name="T26" fmla="*/ 544 w 546"/>
              <a:gd name="T27" fmla="*/ 302 h 680"/>
              <a:gd name="T28" fmla="*/ 534 w 546"/>
              <a:gd name="T29" fmla="*/ 230 h 680"/>
              <a:gd name="T30" fmla="*/ 514 w 546"/>
              <a:gd name="T31" fmla="*/ 164 h 680"/>
              <a:gd name="T32" fmla="*/ 492 w 546"/>
              <a:gd name="T33" fmla="*/ 110 h 680"/>
              <a:gd name="T34" fmla="*/ 478 w 546"/>
              <a:gd name="T35" fmla="*/ 88 h 680"/>
              <a:gd name="T36" fmla="*/ 470 w 546"/>
              <a:gd name="T37" fmla="*/ 76 h 680"/>
              <a:gd name="T38" fmla="*/ 448 w 546"/>
              <a:gd name="T39" fmla="*/ 54 h 680"/>
              <a:gd name="T40" fmla="*/ 412 w 546"/>
              <a:gd name="T41" fmla="*/ 28 h 680"/>
              <a:gd name="T42" fmla="*/ 384 w 546"/>
              <a:gd name="T43" fmla="*/ 16 h 680"/>
              <a:gd name="T44" fmla="*/ 384 w 546"/>
              <a:gd name="T45" fmla="*/ 16 h 680"/>
              <a:gd name="T46" fmla="*/ 330 w 546"/>
              <a:gd name="T47" fmla="*/ 4 h 680"/>
              <a:gd name="T48" fmla="*/ 274 w 546"/>
              <a:gd name="T49" fmla="*/ 0 h 680"/>
              <a:gd name="T50" fmla="*/ 274 w 546"/>
              <a:gd name="T51" fmla="*/ 0 h 680"/>
              <a:gd name="T52" fmla="*/ 216 w 546"/>
              <a:gd name="T53" fmla="*/ 4 h 680"/>
              <a:gd name="T54" fmla="*/ 162 w 546"/>
              <a:gd name="T55" fmla="*/ 16 h 680"/>
              <a:gd name="T56" fmla="*/ 162 w 546"/>
              <a:gd name="T57" fmla="*/ 16 h 680"/>
              <a:gd name="T58" fmla="*/ 136 w 546"/>
              <a:gd name="T59" fmla="*/ 28 h 680"/>
              <a:gd name="T60" fmla="*/ 98 w 546"/>
              <a:gd name="T61" fmla="*/ 54 h 680"/>
              <a:gd name="T62" fmla="*/ 78 w 546"/>
              <a:gd name="T63" fmla="*/ 76 h 680"/>
              <a:gd name="T64" fmla="*/ 70 w 546"/>
              <a:gd name="T65" fmla="*/ 88 h 680"/>
              <a:gd name="T66" fmla="*/ 56 w 546"/>
              <a:gd name="T67" fmla="*/ 110 h 680"/>
              <a:gd name="T68" fmla="*/ 32 w 546"/>
              <a:gd name="T69" fmla="*/ 164 h 680"/>
              <a:gd name="T70" fmla="*/ 14 w 546"/>
              <a:gd name="T71" fmla="*/ 230 h 680"/>
              <a:gd name="T72" fmla="*/ 2 w 546"/>
              <a:gd name="T73" fmla="*/ 302 h 680"/>
              <a:gd name="T74" fmla="*/ 0 w 546"/>
              <a:gd name="T75" fmla="*/ 340 h 680"/>
              <a:gd name="T76" fmla="*/ 2 w 546"/>
              <a:gd name="T77" fmla="*/ 378 h 680"/>
              <a:gd name="T78" fmla="*/ 14 w 546"/>
              <a:gd name="T79" fmla="*/ 450 h 680"/>
              <a:gd name="T80" fmla="*/ 32 w 546"/>
              <a:gd name="T81" fmla="*/ 516 h 680"/>
              <a:gd name="T82" fmla="*/ 56 w 546"/>
              <a:gd name="T83" fmla="*/ 570 h 680"/>
              <a:gd name="T84" fmla="*/ 70 w 546"/>
              <a:gd name="T85" fmla="*/ 592 h 680"/>
              <a:gd name="T86" fmla="*/ 78 w 546"/>
              <a:gd name="T87" fmla="*/ 604 h 680"/>
              <a:gd name="T88" fmla="*/ 98 w 546"/>
              <a:gd name="T89" fmla="*/ 626 h 680"/>
              <a:gd name="T90" fmla="*/ 136 w 546"/>
              <a:gd name="T91" fmla="*/ 652 h 680"/>
              <a:gd name="T92" fmla="*/ 162 w 546"/>
              <a:gd name="T93" fmla="*/ 664 h 680"/>
              <a:gd name="T94" fmla="*/ 162 w 546"/>
              <a:gd name="T95" fmla="*/ 664 h 680"/>
              <a:gd name="T96" fmla="*/ 216 w 546"/>
              <a:gd name="T97" fmla="*/ 676 h 680"/>
              <a:gd name="T98" fmla="*/ 272 w 546"/>
              <a:gd name="T99" fmla="*/ 680 h 680"/>
              <a:gd name="T100" fmla="*/ 274 w 546"/>
              <a:gd name="T101" fmla="*/ 68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680">
                <a:moveTo>
                  <a:pt x="274" y="680"/>
                </a:moveTo>
                <a:lnTo>
                  <a:pt x="274" y="680"/>
                </a:lnTo>
                <a:lnTo>
                  <a:pt x="274" y="680"/>
                </a:lnTo>
                <a:lnTo>
                  <a:pt x="302" y="678"/>
                </a:lnTo>
                <a:lnTo>
                  <a:pt x="330" y="676"/>
                </a:lnTo>
                <a:lnTo>
                  <a:pt x="358" y="670"/>
                </a:lnTo>
                <a:lnTo>
                  <a:pt x="384" y="664"/>
                </a:lnTo>
                <a:lnTo>
                  <a:pt x="384" y="664"/>
                </a:lnTo>
                <a:lnTo>
                  <a:pt x="384" y="664"/>
                </a:lnTo>
                <a:lnTo>
                  <a:pt x="412" y="652"/>
                </a:lnTo>
                <a:lnTo>
                  <a:pt x="436" y="634"/>
                </a:lnTo>
                <a:lnTo>
                  <a:pt x="448" y="626"/>
                </a:lnTo>
                <a:lnTo>
                  <a:pt x="460" y="614"/>
                </a:lnTo>
                <a:lnTo>
                  <a:pt x="470" y="604"/>
                </a:lnTo>
                <a:lnTo>
                  <a:pt x="478" y="592"/>
                </a:lnTo>
                <a:lnTo>
                  <a:pt x="478" y="592"/>
                </a:lnTo>
                <a:lnTo>
                  <a:pt x="478" y="592"/>
                </a:lnTo>
                <a:lnTo>
                  <a:pt x="492" y="570"/>
                </a:lnTo>
                <a:lnTo>
                  <a:pt x="504" y="544"/>
                </a:lnTo>
                <a:lnTo>
                  <a:pt x="514" y="516"/>
                </a:lnTo>
                <a:lnTo>
                  <a:pt x="526" y="484"/>
                </a:lnTo>
                <a:lnTo>
                  <a:pt x="534" y="450"/>
                </a:lnTo>
                <a:lnTo>
                  <a:pt x="540" y="414"/>
                </a:lnTo>
                <a:lnTo>
                  <a:pt x="544" y="378"/>
                </a:lnTo>
                <a:lnTo>
                  <a:pt x="546" y="340"/>
                </a:lnTo>
                <a:lnTo>
                  <a:pt x="546" y="340"/>
                </a:lnTo>
                <a:lnTo>
                  <a:pt x="546" y="340"/>
                </a:lnTo>
                <a:lnTo>
                  <a:pt x="544" y="302"/>
                </a:lnTo>
                <a:lnTo>
                  <a:pt x="540" y="266"/>
                </a:lnTo>
                <a:lnTo>
                  <a:pt x="534" y="230"/>
                </a:lnTo>
                <a:lnTo>
                  <a:pt x="526" y="196"/>
                </a:lnTo>
                <a:lnTo>
                  <a:pt x="514" y="164"/>
                </a:lnTo>
                <a:lnTo>
                  <a:pt x="504" y="136"/>
                </a:lnTo>
                <a:lnTo>
                  <a:pt x="492" y="110"/>
                </a:lnTo>
                <a:lnTo>
                  <a:pt x="478" y="88"/>
                </a:lnTo>
                <a:lnTo>
                  <a:pt x="478" y="88"/>
                </a:lnTo>
                <a:lnTo>
                  <a:pt x="478" y="88"/>
                </a:lnTo>
                <a:lnTo>
                  <a:pt x="470" y="76"/>
                </a:lnTo>
                <a:lnTo>
                  <a:pt x="460" y="66"/>
                </a:lnTo>
                <a:lnTo>
                  <a:pt x="448" y="54"/>
                </a:lnTo>
                <a:lnTo>
                  <a:pt x="438" y="44"/>
                </a:lnTo>
                <a:lnTo>
                  <a:pt x="412" y="28"/>
                </a:lnTo>
                <a:lnTo>
                  <a:pt x="398" y="22"/>
                </a:lnTo>
                <a:lnTo>
                  <a:pt x="384" y="16"/>
                </a:lnTo>
                <a:lnTo>
                  <a:pt x="384" y="16"/>
                </a:lnTo>
                <a:lnTo>
                  <a:pt x="384" y="16"/>
                </a:lnTo>
                <a:lnTo>
                  <a:pt x="358" y="10"/>
                </a:lnTo>
                <a:lnTo>
                  <a:pt x="330" y="4"/>
                </a:lnTo>
                <a:lnTo>
                  <a:pt x="302" y="2"/>
                </a:lnTo>
                <a:lnTo>
                  <a:pt x="274" y="0"/>
                </a:lnTo>
                <a:lnTo>
                  <a:pt x="274" y="0"/>
                </a:lnTo>
                <a:lnTo>
                  <a:pt x="274" y="0"/>
                </a:lnTo>
                <a:lnTo>
                  <a:pt x="246" y="2"/>
                </a:lnTo>
                <a:lnTo>
                  <a:pt x="216" y="4"/>
                </a:lnTo>
                <a:lnTo>
                  <a:pt x="190" y="10"/>
                </a:lnTo>
                <a:lnTo>
                  <a:pt x="162" y="16"/>
                </a:lnTo>
                <a:lnTo>
                  <a:pt x="162" y="16"/>
                </a:lnTo>
                <a:lnTo>
                  <a:pt x="162" y="16"/>
                </a:lnTo>
                <a:lnTo>
                  <a:pt x="148" y="22"/>
                </a:lnTo>
                <a:lnTo>
                  <a:pt x="136" y="28"/>
                </a:lnTo>
                <a:lnTo>
                  <a:pt x="110" y="44"/>
                </a:lnTo>
                <a:lnTo>
                  <a:pt x="98" y="54"/>
                </a:lnTo>
                <a:lnTo>
                  <a:pt x="88" y="66"/>
                </a:lnTo>
                <a:lnTo>
                  <a:pt x="78" y="76"/>
                </a:lnTo>
                <a:lnTo>
                  <a:pt x="70" y="88"/>
                </a:lnTo>
                <a:lnTo>
                  <a:pt x="70" y="88"/>
                </a:lnTo>
                <a:lnTo>
                  <a:pt x="70" y="88"/>
                </a:lnTo>
                <a:lnTo>
                  <a:pt x="56" y="110"/>
                </a:lnTo>
                <a:lnTo>
                  <a:pt x="44" y="136"/>
                </a:lnTo>
                <a:lnTo>
                  <a:pt x="32" y="164"/>
                </a:lnTo>
                <a:lnTo>
                  <a:pt x="22" y="196"/>
                </a:lnTo>
                <a:lnTo>
                  <a:pt x="14" y="230"/>
                </a:lnTo>
                <a:lnTo>
                  <a:pt x="6" y="266"/>
                </a:lnTo>
                <a:lnTo>
                  <a:pt x="2" y="302"/>
                </a:lnTo>
                <a:lnTo>
                  <a:pt x="0" y="340"/>
                </a:lnTo>
                <a:lnTo>
                  <a:pt x="0" y="340"/>
                </a:lnTo>
                <a:lnTo>
                  <a:pt x="0" y="340"/>
                </a:lnTo>
                <a:lnTo>
                  <a:pt x="2" y="378"/>
                </a:lnTo>
                <a:lnTo>
                  <a:pt x="6" y="414"/>
                </a:lnTo>
                <a:lnTo>
                  <a:pt x="14" y="450"/>
                </a:lnTo>
                <a:lnTo>
                  <a:pt x="22" y="484"/>
                </a:lnTo>
                <a:lnTo>
                  <a:pt x="32" y="516"/>
                </a:lnTo>
                <a:lnTo>
                  <a:pt x="44" y="544"/>
                </a:lnTo>
                <a:lnTo>
                  <a:pt x="56" y="570"/>
                </a:lnTo>
                <a:lnTo>
                  <a:pt x="70" y="592"/>
                </a:lnTo>
                <a:lnTo>
                  <a:pt x="70" y="592"/>
                </a:lnTo>
                <a:lnTo>
                  <a:pt x="70" y="592"/>
                </a:lnTo>
                <a:lnTo>
                  <a:pt x="78" y="604"/>
                </a:lnTo>
                <a:lnTo>
                  <a:pt x="88" y="614"/>
                </a:lnTo>
                <a:lnTo>
                  <a:pt x="98" y="626"/>
                </a:lnTo>
                <a:lnTo>
                  <a:pt x="110" y="634"/>
                </a:lnTo>
                <a:lnTo>
                  <a:pt x="136" y="652"/>
                </a:lnTo>
                <a:lnTo>
                  <a:pt x="148" y="658"/>
                </a:lnTo>
                <a:lnTo>
                  <a:pt x="162" y="664"/>
                </a:lnTo>
                <a:lnTo>
                  <a:pt x="162" y="664"/>
                </a:lnTo>
                <a:lnTo>
                  <a:pt x="162" y="664"/>
                </a:lnTo>
                <a:lnTo>
                  <a:pt x="190" y="670"/>
                </a:lnTo>
                <a:lnTo>
                  <a:pt x="216" y="676"/>
                </a:lnTo>
                <a:lnTo>
                  <a:pt x="244" y="678"/>
                </a:lnTo>
                <a:lnTo>
                  <a:pt x="272" y="680"/>
                </a:lnTo>
                <a:lnTo>
                  <a:pt x="274" y="680"/>
                </a:lnTo>
                <a:lnTo>
                  <a:pt x="274" y="68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88" name="Freeform 364"/>
          <p:cNvSpPr>
            <a:spLocks/>
          </p:cNvSpPr>
          <p:nvPr/>
        </p:nvSpPr>
        <p:spPr bwMode="gray">
          <a:xfrm>
            <a:off x="9245600" y="123826"/>
            <a:ext cx="392113" cy="468313"/>
          </a:xfrm>
          <a:custGeom>
            <a:avLst/>
            <a:gdLst>
              <a:gd name="T0" fmla="*/ 506 w 506"/>
              <a:gd name="T1" fmla="*/ 330 h 660"/>
              <a:gd name="T2" fmla="*/ 502 w 506"/>
              <a:gd name="T3" fmla="*/ 388 h 660"/>
              <a:gd name="T4" fmla="*/ 492 w 506"/>
              <a:gd name="T5" fmla="*/ 448 h 660"/>
              <a:gd name="T6" fmla="*/ 478 w 506"/>
              <a:gd name="T7" fmla="*/ 502 h 660"/>
              <a:gd name="T8" fmla="*/ 462 w 506"/>
              <a:gd name="T9" fmla="*/ 544 h 660"/>
              <a:gd name="T10" fmla="*/ 452 w 506"/>
              <a:gd name="T11" fmla="*/ 564 h 660"/>
              <a:gd name="T12" fmla="*/ 428 w 506"/>
              <a:gd name="T13" fmla="*/ 598 h 660"/>
              <a:gd name="T14" fmla="*/ 400 w 506"/>
              <a:gd name="T15" fmla="*/ 624 h 660"/>
              <a:gd name="T16" fmla="*/ 366 w 506"/>
              <a:gd name="T17" fmla="*/ 642 h 660"/>
              <a:gd name="T18" fmla="*/ 346 w 506"/>
              <a:gd name="T19" fmla="*/ 648 h 660"/>
              <a:gd name="T20" fmla="*/ 300 w 506"/>
              <a:gd name="T21" fmla="*/ 658 h 660"/>
              <a:gd name="T22" fmla="*/ 254 w 506"/>
              <a:gd name="T23" fmla="*/ 660 h 660"/>
              <a:gd name="T24" fmla="*/ 254 w 506"/>
              <a:gd name="T25" fmla="*/ 660 h 660"/>
              <a:gd name="T26" fmla="*/ 206 w 506"/>
              <a:gd name="T27" fmla="*/ 658 h 660"/>
              <a:gd name="T28" fmla="*/ 160 w 506"/>
              <a:gd name="T29" fmla="*/ 648 h 660"/>
              <a:gd name="T30" fmla="*/ 140 w 506"/>
              <a:gd name="T31" fmla="*/ 642 h 660"/>
              <a:gd name="T32" fmla="*/ 106 w 506"/>
              <a:gd name="T33" fmla="*/ 624 h 660"/>
              <a:gd name="T34" fmla="*/ 78 w 506"/>
              <a:gd name="T35" fmla="*/ 598 h 660"/>
              <a:gd name="T36" fmla="*/ 54 w 506"/>
              <a:gd name="T37" fmla="*/ 564 h 660"/>
              <a:gd name="T38" fmla="*/ 44 w 506"/>
              <a:gd name="T39" fmla="*/ 544 h 660"/>
              <a:gd name="T40" fmla="*/ 28 w 506"/>
              <a:gd name="T41" fmla="*/ 502 h 660"/>
              <a:gd name="T42" fmla="*/ 14 w 506"/>
              <a:gd name="T43" fmla="*/ 448 h 660"/>
              <a:gd name="T44" fmla="*/ 4 w 506"/>
              <a:gd name="T45" fmla="*/ 388 h 660"/>
              <a:gd name="T46" fmla="*/ 0 w 506"/>
              <a:gd name="T47" fmla="*/ 330 h 660"/>
              <a:gd name="T48" fmla="*/ 0 w 506"/>
              <a:gd name="T49" fmla="*/ 330 h 660"/>
              <a:gd name="T50" fmla="*/ 4 w 506"/>
              <a:gd name="T51" fmla="*/ 272 h 660"/>
              <a:gd name="T52" fmla="*/ 14 w 506"/>
              <a:gd name="T53" fmla="*/ 212 h 660"/>
              <a:gd name="T54" fmla="*/ 28 w 506"/>
              <a:gd name="T55" fmla="*/ 158 h 660"/>
              <a:gd name="T56" fmla="*/ 44 w 506"/>
              <a:gd name="T57" fmla="*/ 116 h 660"/>
              <a:gd name="T58" fmla="*/ 54 w 506"/>
              <a:gd name="T59" fmla="*/ 96 h 660"/>
              <a:gd name="T60" fmla="*/ 78 w 506"/>
              <a:gd name="T61" fmla="*/ 62 h 660"/>
              <a:gd name="T62" fmla="*/ 106 w 506"/>
              <a:gd name="T63" fmla="*/ 36 h 660"/>
              <a:gd name="T64" fmla="*/ 140 w 506"/>
              <a:gd name="T65" fmla="*/ 18 h 660"/>
              <a:gd name="T66" fmla="*/ 160 w 506"/>
              <a:gd name="T67" fmla="*/ 10 h 660"/>
              <a:gd name="T68" fmla="*/ 206 w 506"/>
              <a:gd name="T69" fmla="*/ 2 h 660"/>
              <a:gd name="T70" fmla="*/ 254 w 506"/>
              <a:gd name="T71" fmla="*/ 0 h 660"/>
              <a:gd name="T72" fmla="*/ 254 w 506"/>
              <a:gd name="T73" fmla="*/ 0 h 660"/>
              <a:gd name="T74" fmla="*/ 300 w 506"/>
              <a:gd name="T75" fmla="*/ 2 h 660"/>
              <a:gd name="T76" fmla="*/ 346 w 506"/>
              <a:gd name="T77" fmla="*/ 10 h 660"/>
              <a:gd name="T78" fmla="*/ 366 w 506"/>
              <a:gd name="T79" fmla="*/ 18 h 660"/>
              <a:gd name="T80" fmla="*/ 400 w 506"/>
              <a:gd name="T81" fmla="*/ 36 h 660"/>
              <a:gd name="T82" fmla="*/ 428 w 506"/>
              <a:gd name="T83" fmla="*/ 62 h 660"/>
              <a:gd name="T84" fmla="*/ 452 w 506"/>
              <a:gd name="T85" fmla="*/ 96 h 660"/>
              <a:gd name="T86" fmla="*/ 462 w 506"/>
              <a:gd name="T87" fmla="*/ 116 h 660"/>
              <a:gd name="T88" fmla="*/ 478 w 506"/>
              <a:gd name="T89" fmla="*/ 158 h 660"/>
              <a:gd name="T90" fmla="*/ 492 w 506"/>
              <a:gd name="T91" fmla="*/ 212 h 660"/>
              <a:gd name="T92" fmla="*/ 502 w 506"/>
              <a:gd name="T93" fmla="*/ 272 h 660"/>
              <a:gd name="T94" fmla="*/ 506 w 506"/>
              <a:gd name="T95" fmla="*/ 330 h 660"/>
              <a:gd name="T96" fmla="*/ 506 w 506"/>
              <a:gd name="T97" fmla="*/ 330 h 6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06" h="660">
                <a:moveTo>
                  <a:pt x="506" y="330"/>
                </a:moveTo>
                <a:lnTo>
                  <a:pt x="506" y="330"/>
                </a:lnTo>
                <a:lnTo>
                  <a:pt x="506" y="358"/>
                </a:lnTo>
                <a:lnTo>
                  <a:pt x="502" y="388"/>
                </a:lnTo>
                <a:lnTo>
                  <a:pt x="498" y="418"/>
                </a:lnTo>
                <a:lnTo>
                  <a:pt x="492" y="448"/>
                </a:lnTo>
                <a:lnTo>
                  <a:pt x="486" y="476"/>
                </a:lnTo>
                <a:lnTo>
                  <a:pt x="478" y="502"/>
                </a:lnTo>
                <a:lnTo>
                  <a:pt x="470" y="524"/>
                </a:lnTo>
                <a:lnTo>
                  <a:pt x="462" y="544"/>
                </a:lnTo>
                <a:lnTo>
                  <a:pt x="462" y="544"/>
                </a:lnTo>
                <a:lnTo>
                  <a:pt x="452" y="564"/>
                </a:lnTo>
                <a:lnTo>
                  <a:pt x="442" y="582"/>
                </a:lnTo>
                <a:lnTo>
                  <a:pt x="428" y="598"/>
                </a:lnTo>
                <a:lnTo>
                  <a:pt x="416" y="612"/>
                </a:lnTo>
                <a:lnTo>
                  <a:pt x="400" y="624"/>
                </a:lnTo>
                <a:lnTo>
                  <a:pt x="384" y="634"/>
                </a:lnTo>
                <a:lnTo>
                  <a:pt x="366" y="642"/>
                </a:lnTo>
                <a:lnTo>
                  <a:pt x="346" y="648"/>
                </a:lnTo>
                <a:lnTo>
                  <a:pt x="346" y="648"/>
                </a:lnTo>
                <a:lnTo>
                  <a:pt x="324" y="654"/>
                </a:lnTo>
                <a:lnTo>
                  <a:pt x="300" y="658"/>
                </a:lnTo>
                <a:lnTo>
                  <a:pt x="276" y="660"/>
                </a:lnTo>
                <a:lnTo>
                  <a:pt x="254" y="660"/>
                </a:lnTo>
                <a:lnTo>
                  <a:pt x="254" y="660"/>
                </a:lnTo>
                <a:lnTo>
                  <a:pt x="254" y="660"/>
                </a:lnTo>
                <a:lnTo>
                  <a:pt x="230" y="660"/>
                </a:lnTo>
                <a:lnTo>
                  <a:pt x="206" y="658"/>
                </a:lnTo>
                <a:lnTo>
                  <a:pt x="184" y="654"/>
                </a:lnTo>
                <a:lnTo>
                  <a:pt x="160" y="648"/>
                </a:lnTo>
                <a:lnTo>
                  <a:pt x="160" y="648"/>
                </a:lnTo>
                <a:lnTo>
                  <a:pt x="140" y="642"/>
                </a:lnTo>
                <a:lnTo>
                  <a:pt x="122" y="634"/>
                </a:lnTo>
                <a:lnTo>
                  <a:pt x="106" y="624"/>
                </a:lnTo>
                <a:lnTo>
                  <a:pt x="90" y="612"/>
                </a:lnTo>
                <a:lnTo>
                  <a:pt x="78" y="598"/>
                </a:lnTo>
                <a:lnTo>
                  <a:pt x="64" y="582"/>
                </a:lnTo>
                <a:lnTo>
                  <a:pt x="54" y="564"/>
                </a:lnTo>
                <a:lnTo>
                  <a:pt x="44" y="544"/>
                </a:lnTo>
                <a:lnTo>
                  <a:pt x="44" y="544"/>
                </a:lnTo>
                <a:lnTo>
                  <a:pt x="36" y="524"/>
                </a:lnTo>
                <a:lnTo>
                  <a:pt x="28" y="502"/>
                </a:lnTo>
                <a:lnTo>
                  <a:pt x="20" y="476"/>
                </a:lnTo>
                <a:lnTo>
                  <a:pt x="14" y="448"/>
                </a:lnTo>
                <a:lnTo>
                  <a:pt x="8" y="418"/>
                </a:lnTo>
                <a:lnTo>
                  <a:pt x="4" y="388"/>
                </a:lnTo>
                <a:lnTo>
                  <a:pt x="0" y="358"/>
                </a:lnTo>
                <a:lnTo>
                  <a:pt x="0" y="330"/>
                </a:lnTo>
                <a:lnTo>
                  <a:pt x="0" y="330"/>
                </a:lnTo>
                <a:lnTo>
                  <a:pt x="0" y="330"/>
                </a:lnTo>
                <a:lnTo>
                  <a:pt x="0" y="302"/>
                </a:lnTo>
                <a:lnTo>
                  <a:pt x="4" y="272"/>
                </a:lnTo>
                <a:lnTo>
                  <a:pt x="8" y="242"/>
                </a:lnTo>
                <a:lnTo>
                  <a:pt x="14" y="212"/>
                </a:lnTo>
                <a:lnTo>
                  <a:pt x="20" y="184"/>
                </a:lnTo>
                <a:lnTo>
                  <a:pt x="28" y="158"/>
                </a:lnTo>
                <a:lnTo>
                  <a:pt x="36" y="136"/>
                </a:lnTo>
                <a:lnTo>
                  <a:pt x="44" y="116"/>
                </a:lnTo>
                <a:lnTo>
                  <a:pt x="44" y="116"/>
                </a:lnTo>
                <a:lnTo>
                  <a:pt x="54" y="96"/>
                </a:lnTo>
                <a:lnTo>
                  <a:pt x="64" y="78"/>
                </a:lnTo>
                <a:lnTo>
                  <a:pt x="78" y="62"/>
                </a:lnTo>
                <a:lnTo>
                  <a:pt x="90" y="48"/>
                </a:lnTo>
                <a:lnTo>
                  <a:pt x="106" y="36"/>
                </a:lnTo>
                <a:lnTo>
                  <a:pt x="122" y="26"/>
                </a:lnTo>
                <a:lnTo>
                  <a:pt x="140" y="18"/>
                </a:lnTo>
                <a:lnTo>
                  <a:pt x="160" y="10"/>
                </a:lnTo>
                <a:lnTo>
                  <a:pt x="160" y="10"/>
                </a:lnTo>
                <a:lnTo>
                  <a:pt x="184" y="6"/>
                </a:lnTo>
                <a:lnTo>
                  <a:pt x="206" y="2"/>
                </a:lnTo>
                <a:lnTo>
                  <a:pt x="230" y="0"/>
                </a:lnTo>
                <a:lnTo>
                  <a:pt x="254" y="0"/>
                </a:lnTo>
                <a:lnTo>
                  <a:pt x="254" y="0"/>
                </a:lnTo>
                <a:lnTo>
                  <a:pt x="254" y="0"/>
                </a:lnTo>
                <a:lnTo>
                  <a:pt x="276" y="0"/>
                </a:lnTo>
                <a:lnTo>
                  <a:pt x="300" y="2"/>
                </a:lnTo>
                <a:lnTo>
                  <a:pt x="324" y="6"/>
                </a:lnTo>
                <a:lnTo>
                  <a:pt x="346" y="10"/>
                </a:lnTo>
                <a:lnTo>
                  <a:pt x="346" y="10"/>
                </a:lnTo>
                <a:lnTo>
                  <a:pt x="366" y="18"/>
                </a:lnTo>
                <a:lnTo>
                  <a:pt x="384" y="26"/>
                </a:lnTo>
                <a:lnTo>
                  <a:pt x="400" y="36"/>
                </a:lnTo>
                <a:lnTo>
                  <a:pt x="416" y="48"/>
                </a:lnTo>
                <a:lnTo>
                  <a:pt x="428" y="62"/>
                </a:lnTo>
                <a:lnTo>
                  <a:pt x="442" y="78"/>
                </a:lnTo>
                <a:lnTo>
                  <a:pt x="452" y="96"/>
                </a:lnTo>
                <a:lnTo>
                  <a:pt x="462" y="116"/>
                </a:lnTo>
                <a:lnTo>
                  <a:pt x="462" y="116"/>
                </a:lnTo>
                <a:lnTo>
                  <a:pt x="470" y="136"/>
                </a:lnTo>
                <a:lnTo>
                  <a:pt x="478" y="158"/>
                </a:lnTo>
                <a:lnTo>
                  <a:pt x="486" y="184"/>
                </a:lnTo>
                <a:lnTo>
                  <a:pt x="492" y="212"/>
                </a:lnTo>
                <a:lnTo>
                  <a:pt x="498" y="242"/>
                </a:lnTo>
                <a:lnTo>
                  <a:pt x="502" y="272"/>
                </a:lnTo>
                <a:lnTo>
                  <a:pt x="506" y="302"/>
                </a:lnTo>
                <a:lnTo>
                  <a:pt x="506" y="330"/>
                </a:lnTo>
                <a:lnTo>
                  <a:pt x="506" y="330"/>
                </a:lnTo>
                <a:lnTo>
                  <a:pt x="506" y="33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89" name="Freeform 365"/>
          <p:cNvSpPr>
            <a:spLocks/>
          </p:cNvSpPr>
          <p:nvPr/>
        </p:nvSpPr>
        <p:spPr bwMode="gray">
          <a:xfrm>
            <a:off x="9307512" y="180976"/>
            <a:ext cx="268288" cy="354013"/>
          </a:xfrm>
          <a:custGeom>
            <a:avLst/>
            <a:gdLst>
              <a:gd name="T0" fmla="*/ 174 w 346"/>
              <a:gd name="T1" fmla="*/ 0 h 500"/>
              <a:gd name="T2" fmla="*/ 214 w 346"/>
              <a:gd name="T3" fmla="*/ 2 h 500"/>
              <a:gd name="T4" fmla="*/ 250 w 346"/>
              <a:gd name="T5" fmla="*/ 10 h 500"/>
              <a:gd name="T6" fmla="*/ 250 w 346"/>
              <a:gd name="T7" fmla="*/ 10 h 500"/>
              <a:gd name="T8" fmla="*/ 286 w 346"/>
              <a:gd name="T9" fmla="*/ 28 h 500"/>
              <a:gd name="T10" fmla="*/ 308 w 346"/>
              <a:gd name="T11" fmla="*/ 60 h 500"/>
              <a:gd name="T12" fmla="*/ 316 w 346"/>
              <a:gd name="T13" fmla="*/ 78 h 500"/>
              <a:gd name="T14" fmla="*/ 330 w 346"/>
              <a:gd name="T15" fmla="*/ 122 h 500"/>
              <a:gd name="T16" fmla="*/ 340 w 346"/>
              <a:gd name="T17" fmla="*/ 172 h 500"/>
              <a:gd name="T18" fmla="*/ 346 w 346"/>
              <a:gd name="T19" fmla="*/ 224 h 500"/>
              <a:gd name="T20" fmla="*/ 346 w 346"/>
              <a:gd name="T21" fmla="*/ 250 h 500"/>
              <a:gd name="T22" fmla="*/ 346 w 346"/>
              <a:gd name="T23" fmla="*/ 276 h 500"/>
              <a:gd name="T24" fmla="*/ 340 w 346"/>
              <a:gd name="T25" fmla="*/ 328 h 500"/>
              <a:gd name="T26" fmla="*/ 330 w 346"/>
              <a:gd name="T27" fmla="*/ 378 h 500"/>
              <a:gd name="T28" fmla="*/ 316 w 346"/>
              <a:gd name="T29" fmla="*/ 422 h 500"/>
              <a:gd name="T30" fmla="*/ 308 w 346"/>
              <a:gd name="T31" fmla="*/ 440 h 500"/>
              <a:gd name="T32" fmla="*/ 286 w 346"/>
              <a:gd name="T33" fmla="*/ 472 h 500"/>
              <a:gd name="T34" fmla="*/ 250 w 346"/>
              <a:gd name="T35" fmla="*/ 490 h 500"/>
              <a:gd name="T36" fmla="*/ 250 w 346"/>
              <a:gd name="T37" fmla="*/ 490 h 500"/>
              <a:gd name="T38" fmla="*/ 214 w 346"/>
              <a:gd name="T39" fmla="*/ 498 h 500"/>
              <a:gd name="T40" fmla="*/ 174 w 346"/>
              <a:gd name="T41" fmla="*/ 500 h 500"/>
              <a:gd name="T42" fmla="*/ 174 w 346"/>
              <a:gd name="T43" fmla="*/ 500 h 500"/>
              <a:gd name="T44" fmla="*/ 134 w 346"/>
              <a:gd name="T45" fmla="*/ 498 h 500"/>
              <a:gd name="T46" fmla="*/ 96 w 346"/>
              <a:gd name="T47" fmla="*/ 490 h 500"/>
              <a:gd name="T48" fmla="*/ 96 w 346"/>
              <a:gd name="T49" fmla="*/ 490 h 500"/>
              <a:gd name="T50" fmla="*/ 62 w 346"/>
              <a:gd name="T51" fmla="*/ 472 h 500"/>
              <a:gd name="T52" fmla="*/ 40 w 346"/>
              <a:gd name="T53" fmla="*/ 440 h 500"/>
              <a:gd name="T54" fmla="*/ 30 w 346"/>
              <a:gd name="T55" fmla="*/ 422 h 500"/>
              <a:gd name="T56" fmla="*/ 16 w 346"/>
              <a:gd name="T57" fmla="*/ 378 h 500"/>
              <a:gd name="T58" fmla="*/ 6 w 346"/>
              <a:gd name="T59" fmla="*/ 328 h 500"/>
              <a:gd name="T60" fmla="*/ 2 w 346"/>
              <a:gd name="T61" fmla="*/ 276 h 500"/>
              <a:gd name="T62" fmla="*/ 0 w 346"/>
              <a:gd name="T63" fmla="*/ 250 h 500"/>
              <a:gd name="T64" fmla="*/ 2 w 346"/>
              <a:gd name="T65" fmla="*/ 224 h 500"/>
              <a:gd name="T66" fmla="*/ 6 w 346"/>
              <a:gd name="T67" fmla="*/ 172 h 500"/>
              <a:gd name="T68" fmla="*/ 16 w 346"/>
              <a:gd name="T69" fmla="*/ 122 h 500"/>
              <a:gd name="T70" fmla="*/ 30 w 346"/>
              <a:gd name="T71" fmla="*/ 78 h 500"/>
              <a:gd name="T72" fmla="*/ 40 w 346"/>
              <a:gd name="T73" fmla="*/ 60 h 500"/>
              <a:gd name="T74" fmla="*/ 62 w 346"/>
              <a:gd name="T75" fmla="*/ 28 h 500"/>
              <a:gd name="T76" fmla="*/ 96 w 346"/>
              <a:gd name="T77" fmla="*/ 10 h 500"/>
              <a:gd name="T78" fmla="*/ 96 w 346"/>
              <a:gd name="T79" fmla="*/ 10 h 500"/>
              <a:gd name="T80" fmla="*/ 134 w 346"/>
              <a:gd name="T81" fmla="*/ 2 h 500"/>
              <a:gd name="T82" fmla="*/ 174 w 346"/>
              <a:gd name="T83" fmla="*/ 0 h 500"/>
              <a:gd name="T84" fmla="*/ 174 w 346"/>
              <a:gd name="T85" fmla="*/ 0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46" h="500">
                <a:moveTo>
                  <a:pt x="174" y="0"/>
                </a:moveTo>
                <a:lnTo>
                  <a:pt x="174" y="0"/>
                </a:lnTo>
                <a:lnTo>
                  <a:pt x="194" y="0"/>
                </a:lnTo>
                <a:lnTo>
                  <a:pt x="214" y="2"/>
                </a:lnTo>
                <a:lnTo>
                  <a:pt x="232" y="6"/>
                </a:lnTo>
                <a:lnTo>
                  <a:pt x="250" y="10"/>
                </a:lnTo>
                <a:lnTo>
                  <a:pt x="250" y="10"/>
                </a:lnTo>
                <a:lnTo>
                  <a:pt x="250" y="10"/>
                </a:lnTo>
                <a:lnTo>
                  <a:pt x="268" y="18"/>
                </a:lnTo>
                <a:lnTo>
                  <a:pt x="286" y="28"/>
                </a:lnTo>
                <a:lnTo>
                  <a:pt x="298" y="42"/>
                </a:lnTo>
                <a:lnTo>
                  <a:pt x="308" y="60"/>
                </a:lnTo>
                <a:lnTo>
                  <a:pt x="308" y="60"/>
                </a:lnTo>
                <a:lnTo>
                  <a:pt x="316" y="78"/>
                </a:lnTo>
                <a:lnTo>
                  <a:pt x="324" y="100"/>
                </a:lnTo>
                <a:lnTo>
                  <a:pt x="330" y="122"/>
                </a:lnTo>
                <a:lnTo>
                  <a:pt x="336" y="146"/>
                </a:lnTo>
                <a:lnTo>
                  <a:pt x="340" y="172"/>
                </a:lnTo>
                <a:lnTo>
                  <a:pt x="344" y="198"/>
                </a:lnTo>
                <a:lnTo>
                  <a:pt x="346" y="224"/>
                </a:lnTo>
                <a:lnTo>
                  <a:pt x="346" y="250"/>
                </a:lnTo>
                <a:lnTo>
                  <a:pt x="346" y="250"/>
                </a:lnTo>
                <a:lnTo>
                  <a:pt x="346" y="250"/>
                </a:lnTo>
                <a:lnTo>
                  <a:pt x="346" y="276"/>
                </a:lnTo>
                <a:lnTo>
                  <a:pt x="344" y="302"/>
                </a:lnTo>
                <a:lnTo>
                  <a:pt x="340" y="328"/>
                </a:lnTo>
                <a:lnTo>
                  <a:pt x="336" y="354"/>
                </a:lnTo>
                <a:lnTo>
                  <a:pt x="330" y="378"/>
                </a:lnTo>
                <a:lnTo>
                  <a:pt x="324" y="400"/>
                </a:lnTo>
                <a:lnTo>
                  <a:pt x="316" y="422"/>
                </a:lnTo>
                <a:lnTo>
                  <a:pt x="308" y="440"/>
                </a:lnTo>
                <a:lnTo>
                  <a:pt x="308" y="440"/>
                </a:lnTo>
                <a:lnTo>
                  <a:pt x="298" y="458"/>
                </a:lnTo>
                <a:lnTo>
                  <a:pt x="286" y="472"/>
                </a:lnTo>
                <a:lnTo>
                  <a:pt x="268" y="482"/>
                </a:lnTo>
                <a:lnTo>
                  <a:pt x="250" y="490"/>
                </a:lnTo>
                <a:lnTo>
                  <a:pt x="250" y="490"/>
                </a:lnTo>
                <a:lnTo>
                  <a:pt x="250" y="490"/>
                </a:lnTo>
                <a:lnTo>
                  <a:pt x="232" y="494"/>
                </a:lnTo>
                <a:lnTo>
                  <a:pt x="214" y="498"/>
                </a:lnTo>
                <a:lnTo>
                  <a:pt x="194" y="500"/>
                </a:lnTo>
                <a:lnTo>
                  <a:pt x="174" y="500"/>
                </a:lnTo>
                <a:lnTo>
                  <a:pt x="174" y="500"/>
                </a:lnTo>
                <a:lnTo>
                  <a:pt x="174" y="500"/>
                </a:lnTo>
                <a:lnTo>
                  <a:pt x="154" y="500"/>
                </a:lnTo>
                <a:lnTo>
                  <a:pt x="134" y="498"/>
                </a:lnTo>
                <a:lnTo>
                  <a:pt x="116" y="494"/>
                </a:lnTo>
                <a:lnTo>
                  <a:pt x="96" y="490"/>
                </a:lnTo>
                <a:lnTo>
                  <a:pt x="96" y="490"/>
                </a:lnTo>
                <a:lnTo>
                  <a:pt x="96" y="490"/>
                </a:lnTo>
                <a:lnTo>
                  <a:pt x="78" y="482"/>
                </a:lnTo>
                <a:lnTo>
                  <a:pt x="62" y="472"/>
                </a:lnTo>
                <a:lnTo>
                  <a:pt x="48" y="458"/>
                </a:lnTo>
                <a:lnTo>
                  <a:pt x="40" y="440"/>
                </a:lnTo>
                <a:lnTo>
                  <a:pt x="40" y="440"/>
                </a:lnTo>
                <a:lnTo>
                  <a:pt x="30" y="422"/>
                </a:lnTo>
                <a:lnTo>
                  <a:pt x="24" y="400"/>
                </a:lnTo>
                <a:lnTo>
                  <a:pt x="16" y="378"/>
                </a:lnTo>
                <a:lnTo>
                  <a:pt x="12" y="354"/>
                </a:lnTo>
                <a:lnTo>
                  <a:pt x="6" y="328"/>
                </a:lnTo>
                <a:lnTo>
                  <a:pt x="4" y="302"/>
                </a:lnTo>
                <a:lnTo>
                  <a:pt x="2" y="276"/>
                </a:lnTo>
                <a:lnTo>
                  <a:pt x="0" y="250"/>
                </a:lnTo>
                <a:lnTo>
                  <a:pt x="0" y="250"/>
                </a:lnTo>
                <a:lnTo>
                  <a:pt x="0" y="250"/>
                </a:lnTo>
                <a:lnTo>
                  <a:pt x="2" y="224"/>
                </a:lnTo>
                <a:lnTo>
                  <a:pt x="4" y="198"/>
                </a:lnTo>
                <a:lnTo>
                  <a:pt x="6" y="172"/>
                </a:lnTo>
                <a:lnTo>
                  <a:pt x="12" y="146"/>
                </a:lnTo>
                <a:lnTo>
                  <a:pt x="16" y="122"/>
                </a:lnTo>
                <a:lnTo>
                  <a:pt x="24" y="100"/>
                </a:lnTo>
                <a:lnTo>
                  <a:pt x="30" y="78"/>
                </a:lnTo>
                <a:lnTo>
                  <a:pt x="40" y="60"/>
                </a:lnTo>
                <a:lnTo>
                  <a:pt x="40" y="60"/>
                </a:lnTo>
                <a:lnTo>
                  <a:pt x="48" y="42"/>
                </a:lnTo>
                <a:lnTo>
                  <a:pt x="62" y="28"/>
                </a:lnTo>
                <a:lnTo>
                  <a:pt x="78" y="18"/>
                </a:lnTo>
                <a:lnTo>
                  <a:pt x="96" y="10"/>
                </a:lnTo>
                <a:lnTo>
                  <a:pt x="96" y="10"/>
                </a:lnTo>
                <a:lnTo>
                  <a:pt x="96" y="10"/>
                </a:lnTo>
                <a:lnTo>
                  <a:pt x="116" y="6"/>
                </a:lnTo>
                <a:lnTo>
                  <a:pt x="134" y="2"/>
                </a:lnTo>
                <a:lnTo>
                  <a:pt x="15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90" name="Freeform 366"/>
          <p:cNvSpPr>
            <a:spLocks/>
          </p:cNvSpPr>
          <p:nvPr/>
        </p:nvSpPr>
        <p:spPr bwMode="gray">
          <a:xfrm>
            <a:off x="9467454" y="242888"/>
            <a:ext cx="5159" cy="6350"/>
          </a:xfrm>
          <a:custGeom>
            <a:avLst/>
            <a:gdLst>
              <a:gd name="T0" fmla="*/ 6 w 6"/>
              <a:gd name="T1" fmla="*/ 8 h 8"/>
              <a:gd name="T2" fmla="*/ 6 w 6"/>
              <a:gd name="T3" fmla="*/ 8 h 8"/>
              <a:gd name="T4" fmla="*/ 0 w 6"/>
              <a:gd name="T5" fmla="*/ 0 h 8"/>
              <a:gd name="T6" fmla="*/ 6 w 6"/>
              <a:gd name="T7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8">
                <a:moveTo>
                  <a:pt x="6" y="8"/>
                </a:moveTo>
                <a:lnTo>
                  <a:pt x="6" y="8"/>
                </a:lnTo>
                <a:lnTo>
                  <a:pt x="0" y="0"/>
                </a:lnTo>
                <a:lnTo>
                  <a:pt x="6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91" name="Freeform 367"/>
          <p:cNvSpPr>
            <a:spLocks/>
          </p:cNvSpPr>
          <p:nvPr/>
        </p:nvSpPr>
        <p:spPr bwMode="gray">
          <a:xfrm>
            <a:off x="9467454" y="242888"/>
            <a:ext cx="5159" cy="6350"/>
          </a:xfrm>
          <a:custGeom>
            <a:avLst/>
            <a:gdLst>
              <a:gd name="T0" fmla="*/ 6 w 6"/>
              <a:gd name="T1" fmla="*/ 8 h 8"/>
              <a:gd name="T2" fmla="*/ 6 w 6"/>
              <a:gd name="T3" fmla="*/ 8 h 8"/>
              <a:gd name="T4" fmla="*/ 0 w 6"/>
              <a:gd name="T5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" h="8">
                <a:moveTo>
                  <a:pt x="6" y="8"/>
                </a:moveTo>
                <a:lnTo>
                  <a:pt x="6" y="8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92" name="Freeform 368"/>
          <p:cNvSpPr>
            <a:spLocks/>
          </p:cNvSpPr>
          <p:nvPr/>
        </p:nvSpPr>
        <p:spPr bwMode="gray">
          <a:xfrm>
            <a:off x="9343629" y="349251"/>
            <a:ext cx="67071" cy="17463"/>
          </a:xfrm>
          <a:custGeom>
            <a:avLst/>
            <a:gdLst>
              <a:gd name="T0" fmla="*/ 88 w 88"/>
              <a:gd name="T1" fmla="*/ 0 h 26"/>
              <a:gd name="T2" fmla="*/ 88 w 88"/>
              <a:gd name="T3" fmla="*/ 26 h 26"/>
              <a:gd name="T4" fmla="*/ 0 w 88"/>
              <a:gd name="T5" fmla="*/ 26 h 26"/>
              <a:gd name="T6" fmla="*/ 0 w 88"/>
              <a:gd name="T7" fmla="*/ 0 h 26"/>
              <a:gd name="T8" fmla="*/ 88 w 88"/>
              <a:gd name="T9" fmla="*/ 0 h 26"/>
              <a:gd name="T10" fmla="*/ 88 w 88"/>
              <a:gd name="T11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" h="26">
                <a:moveTo>
                  <a:pt x="88" y="0"/>
                </a:moveTo>
                <a:lnTo>
                  <a:pt x="88" y="26"/>
                </a:lnTo>
                <a:lnTo>
                  <a:pt x="0" y="26"/>
                </a:lnTo>
                <a:lnTo>
                  <a:pt x="0" y="0"/>
                </a:lnTo>
                <a:lnTo>
                  <a:pt x="88" y="0"/>
                </a:lnTo>
                <a:lnTo>
                  <a:pt x="8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93" name="Freeform 369"/>
          <p:cNvSpPr>
            <a:spLocks/>
          </p:cNvSpPr>
          <p:nvPr/>
        </p:nvSpPr>
        <p:spPr bwMode="gray">
          <a:xfrm>
            <a:off x="9393503" y="496889"/>
            <a:ext cx="37835" cy="15875"/>
          </a:xfrm>
          <a:custGeom>
            <a:avLst/>
            <a:gdLst>
              <a:gd name="T0" fmla="*/ 4 w 50"/>
              <a:gd name="T1" fmla="*/ 8 h 22"/>
              <a:gd name="T2" fmla="*/ 4 w 50"/>
              <a:gd name="T3" fmla="*/ 8 h 22"/>
              <a:gd name="T4" fmla="*/ 2 w 50"/>
              <a:gd name="T5" fmla="*/ 4 h 22"/>
              <a:gd name="T6" fmla="*/ 0 w 50"/>
              <a:gd name="T7" fmla="*/ 0 h 22"/>
              <a:gd name="T8" fmla="*/ 0 w 50"/>
              <a:gd name="T9" fmla="*/ 0 h 22"/>
              <a:gd name="T10" fmla="*/ 50 w 50"/>
              <a:gd name="T11" fmla="*/ 0 h 22"/>
              <a:gd name="T12" fmla="*/ 50 w 50"/>
              <a:gd name="T13" fmla="*/ 0 h 22"/>
              <a:gd name="T14" fmla="*/ 50 w 50"/>
              <a:gd name="T15" fmla="*/ 4 h 22"/>
              <a:gd name="T16" fmla="*/ 48 w 50"/>
              <a:gd name="T17" fmla="*/ 10 h 22"/>
              <a:gd name="T18" fmla="*/ 44 w 50"/>
              <a:gd name="T19" fmla="*/ 14 h 22"/>
              <a:gd name="T20" fmla="*/ 40 w 50"/>
              <a:gd name="T21" fmla="*/ 18 h 22"/>
              <a:gd name="T22" fmla="*/ 40 w 50"/>
              <a:gd name="T23" fmla="*/ 18 h 22"/>
              <a:gd name="T24" fmla="*/ 34 w 50"/>
              <a:gd name="T25" fmla="*/ 20 h 22"/>
              <a:gd name="T26" fmla="*/ 28 w 50"/>
              <a:gd name="T27" fmla="*/ 22 h 22"/>
              <a:gd name="T28" fmla="*/ 20 w 50"/>
              <a:gd name="T29" fmla="*/ 22 h 22"/>
              <a:gd name="T30" fmla="*/ 14 w 50"/>
              <a:gd name="T31" fmla="*/ 20 h 22"/>
              <a:gd name="T32" fmla="*/ 14 w 50"/>
              <a:gd name="T33" fmla="*/ 20 h 22"/>
              <a:gd name="T34" fmla="*/ 8 w 50"/>
              <a:gd name="T35" fmla="*/ 14 h 22"/>
              <a:gd name="T36" fmla="*/ 4 w 50"/>
              <a:gd name="T37" fmla="*/ 8 h 22"/>
              <a:gd name="T38" fmla="*/ 4 w 50"/>
              <a:gd name="T39" fmla="*/ 8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0" h="22">
                <a:moveTo>
                  <a:pt x="4" y="8"/>
                </a:moveTo>
                <a:lnTo>
                  <a:pt x="4" y="8"/>
                </a:lnTo>
                <a:lnTo>
                  <a:pt x="2" y="4"/>
                </a:lnTo>
                <a:lnTo>
                  <a:pt x="0" y="0"/>
                </a:lnTo>
                <a:lnTo>
                  <a:pt x="0" y="0"/>
                </a:lnTo>
                <a:lnTo>
                  <a:pt x="50" y="0"/>
                </a:lnTo>
                <a:lnTo>
                  <a:pt x="50" y="0"/>
                </a:lnTo>
                <a:lnTo>
                  <a:pt x="50" y="4"/>
                </a:lnTo>
                <a:lnTo>
                  <a:pt x="48" y="10"/>
                </a:lnTo>
                <a:lnTo>
                  <a:pt x="44" y="14"/>
                </a:lnTo>
                <a:lnTo>
                  <a:pt x="40" y="18"/>
                </a:lnTo>
                <a:lnTo>
                  <a:pt x="40" y="18"/>
                </a:lnTo>
                <a:lnTo>
                  <a:pt x="34" y="20"/>
                </a:lnTo>
                <a:lnTo>
                  <a:pt x="28" y="22"/>
                </a:lnTo>
                <a:lnTo>
                  <a:pt x="20" y="22"/>
                </a:lnTo>
                <a:lnTo>
                  <a:pt x="14" y="20"/>
                </a:lnTo>
                <a:lnTo>
                  <a:pt x="14" y="20"/>
                </a:lnTo>
                <a:lnTo>
                  <a:pt x="8" y="14"/>
                </a:lnTo>
                <a:lnTo>
                  <a:pt x="4" y="8"/>
                </a:lnTo>
                <a:lnTo>
                  <a:pt x="4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94" name="Freeform 370"/>
          <p:cNvSpPr>
            <a:spLocks/>
          </p:cNvSpPr>
          <p:nvPr/>
        </p:nvSpPr>
        <p:spPr bwMode="gray">
          <a:xfrm>
            <a:off x="9415860" y="473075"/>
            <a:ext cx="55033" cy="38100"/>
          </a:xfrm>
          <a:custGeom>
            <a:avLst/>
            <a:gdLst>
              <a:gd name="T0" fmla="*/ 26 w 70"/>
              <a:gd name="T1" fmla="*/ 22 h 54"/>
              <a:gd name="T2" fmla="*/ 0 w 70"/>
              <a:gd name="T3" fmla="*/ 22 h 54"/>
              <a:gd name="T4" fmla="*/ 0 w 70"/>
              <a:gd name="T5" fmla="*/ 10 h 54"/>
              <a:gd name="T6" fmla="*/ 28 w 70"/>
              <a:gd name="T7" fmla="*/ 10 h 54"/>
              <a:gd name="T8" fmla="*/ 36 w 70"/>
              <a:gd name="T9" fmla="*/ 0 h 54"/>
              <a:gd name="T10" fmla="*/ 36 w 70"/>
              <a:gd name="T11" fmla="*/ 0 h 54"/>
              <a:gd name="T12" fmla="*/ 44 w 70"/>
              <a:gd name="T13" fmla="*/ 10 h 54"/>
              <a:gd name="T14" fmla="*/ 70 w 70"/>
              <a:gd name="T15" fmla="*/ 10 h 54"/>
              <a:gd name="T16" fmla="*/ 70 w 70"/>
              <a:gd name="T17" fmla="*/ 22 h 54"/>
              <a:gd name="T18" fmla="*/ 44 w 70"/>
              <a:gd name="T19" fmla="*/ 22 h 54"/>
              <a:gd name="T20" fmla="*/ 44 w 70"/>
              <a:gd name="T21" fmla="*/ 22 h 54"/>
              <a:gd name="T22" fmla="*/ 44 w 70"/>
              <a:gd name="T23" fmla="*/ 54 h 54"/>
              <a:gd name="T24" fmla="*/ 44 w 70"/>
              <a:gd name="T25" fmla="*/ 54 h 54"/>
              <a:gd name="T26" fmla="*/ 26 w 70"/>
              <a:gd name="T27" fmla="*/ 54 h 54"/>
              <a:gd name="T28" fmla="*/ 26 w 70"/>
              <a:gd name="T29" fmla="*/ 22 h 54"/>
              <a:gd name="T30" fmla="*/ 26 w 70"/>
              <a:gd name="T31" fmla="*/ 22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0" h="54">
                <a:moveTo>
                  <a:pt x="26" y="22"/>
                </a:moveTo>
                <a:lnTo>
                  <a:pt x="0" y="22"/>
                </a:lnTo>
                <a:lnTo>
                  <a:pt x="0" y="10"/>
                </a:lnTo>
                <a:lnTo>
                  <a:pt x="28" y="10"/>
                </a:lnTo>
                <a:lnTo>
                  <a:pt x="36" y="0"/>
                </a:lnTo>
                <a:lnTo>
                  <a:pt x="36" y="0"/>
                </a:lnTo>
                <a:lnTo>
                  <a:pt x="44" y="10"/>
                </a:lnTo>
                <a:lnTo>
                  <a:pt x="70" y="10"/>
                </a:lnTo>
                <a:lnTo>
                  <a:pt x="70" y="22"/>
                </a:lnTo>
                <a:lnTo>
                  <a:pt x="44" y="22"/>
                </a:lnTo>
                <a:lnTo>
                  <a:pt x="44" y="22"/>
                </a:lnTo>
                <a:lnTo>
                  <a:pt x="44" y="54"/>
                </a:lnTo>
                <a:lnTo>
                  <a:pt x="44" y="54"/>
                </a:lnTo>
                <a:lnTo>
                  <a:pt x="26" y="54"/>
                </a:lnTo>
                <a:lnTo>
                  <a:pt x="26" y="22"/>
                </a:lnTo>
                <a:lnTo>
                  <a:pt x="26" y="2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95" name="Freeform 371"/>
          <p:cNvSpPr>
            <a:spLocks/>
          </p:cNvSpPr>
          <p:nvPr/>
        </p:nvSpPr>
        <p:spPr bwMode="gray">
          <a:xfrm>
            <a:off x="9439938" y="434976"/>
            <a:ext cx="36115" cy="34925"/>
          </a:xfrm>
          <a:custGeom>
            <a:avLst/>
            <a:gdLst>
              <a:gd name="T0" fmla="*/ 0 w 48"/>
              <a:gd name="T1" fmla="*/ 38 h 50"/>
              <a:gd name="T2" fmla="*/ 0 w 48"/>
              <a:gd name="T3" fmla="*/ 38 h 50"/>
              <a:gd name="T4" fmla="*/ 8 w 48"/>
              <a:gd name="T5" fmla="*/ 34 h 50"/>
              <a:gd name="T6" fmla="*/ 12 w 48"/>
              <a:gd name="T7" fmla="*/ 32 h 50"/>
              <a:gd name="T8" fmla="*/ 14 w 48"/>
              <a:gd name="T9" fmla="*/ 28 h 50"/>
              <a:gd name="T10" fmla="*/ 14 w 48"/>
              <a:gd name="T11" fmla="*/ 28 h 50"/>
              <a:gd name="T12" fmla="*/ 16 w 48"/>
              <a:gd name="T13" fmla="*/ 22 h 50"/>
              <a:gd name="T14" fmla="*/ 18 w 48"/>
              <a:gd name="T15" fmla="*/ 16 h 50"/>
              <a:gd name="T16" fmla="*/ 24 w 48"/>
              <a:gd name="T17" fmla="*/ 6 h 50"/>
              <a:gd name="T18" fmla="*/ 24 w 48"/>
              <a:gd name="T19" fmla="*/ 6 h 50"/>
              <a:gd name="T20" fmla="*/ 26 w 48"/>
              <a:gd name="T21" fmla="*/ 4 h 50"/>
              <a:gd name="T22" fmla="*/ 26 w 48"/>
              <a:gd name="T23" fmla="*/ 0 h 50"/>
              <a:gd name="T24" fmla="*/ 26 w 48"/>
              <a:gd name="T25" fmla="*/ 0 h 50"/>
              <a:gd name="T26" fmla="*/ 32 w 48"/>
              <a:gd name="T27" fmla="*/ 0 h 50"/>
              <a:gd name="T28" fmla="*/ 38 w 48"/>
              <a:gd name="T29" fmla="*/ 4 h 50"/>
              <a:gd name="T30" fmla="*/ 44 w 48"/>
              <a:gd name="T31" fmla="*/ 8 h 50"/>
              <a:gd name="T32" fmla="*/ 46 w 48"/>
              <a:gd name="T33" fmla="*/ 14 h 50"/>
              <a:gd name="T34" fmla="*/ 46 w 48"/>
              <a:gd name="T35" fmla="*/ 14 h 50"/>
              <a:gd name="T36" fmla="*/ 48 w 48"/>
              <a:gd name="T37" fmla="*/ 20 h 50"/>
              <a:gd name="T38" fmla="*/ 48 w 48"/>
              <a:gd name="T39" fmla="*/ 28 h 50"/>
              <a:gd name="T40" fmla="*/ 46 w 48"/>
              <a:gd name="T41" fmla="*/ 34 h 50"/>
              <a:gd name="T42" fmla="*/ 44 w 48"/>
              <a:gd name="T43" fmla="*/ 40 h 50"/>
              <a:gd name="T44" fmla="*/ 44 w 48"/>
              <a:gd name="T45" fmla="*/ 40 h 50"/>
              <a:gd name="T46" fmla="*/ 38 w 48"/>
              <a:gd name="T47" fmla="*/ 46 h 50"/>
              <a:gd name="T48" fmla="*/ 32 w 48"/>
              <a:gd name="T49" fmla="*/ 48 h 50"/>
              <a:gd name="T50" fmla="*/ 24 w 48"/>
              <a:gd name="T51" fmla="*/ 50 h 50"/>
              <a:gd name="T52" fmla="*/ 18 w 48"/>
              <a:gd name="T53" fmla="*/ 50 h 50"/>
              <a:gd name="T54" fmla="*/ 18 w 48"/>
              <a:gd name="T55" fmla="*/ 50 h 50"/>
              <a:gd name="T56" fmla="*/ 8 w 48"/>
              <a:gd name="T57" fmla="*/ 46 h 50"/>
              <a:gd name="T58" fmla="*/ 4 w 48"/>
              <a:gd name="T59" fmla="*/ 42 h 50"/>
              <a:gd name="T60" fmla="*/ 0 w 48"/>
              <a:gd name="T61" fmla="*/ 38 h 50"/>
              <a:gd name="T62" fmla="*/ 0 w 48"/>
              <a:gd name="T63" fmla="*/ 3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8" h="50">
                <a:moveTo>
                  <a:pt x="0" y="38"/>
                </a:moveTo>
                <a:lnTo>
                  <a:pt x="0" y="38"/>
                </a:lnTo>
                <a:lnTo>
                  <a:pt x="8" y="34"/>
                </a:lnTo>
                <a:lnTo>
                  <a:pt x="12" y="32"/>
                </a:lnTo>
                <a:lnTo>
                  <a:pt x="14" y="28"/>
                </a:lnTo>
                <a:lnTo>
                  <a:pt x="14" y="28"/>
                </a:lnTo>
                <a:lnTo>
                  <a:pt x="16" y="22"/>
                </a:lnTo>
                <a:lnTo>
                  <a:pt x="18" y="16"/>
                </a:lnTo>
                <a:lnTo>
                  <a:pt x="24" y="6"/>
                </a:lnTo>
                <a:lnTo>
                  <a:pt x="24" y="6"/>
                </a:lnTo>
                <a:lnTo>
                  <a:pt x="26" y="4"/>
                </a:lnTo>
                <a:lnTo>
                  <a:pt x="26" y="0"/>
                </a:lnTo>
                <a:lnTo>
                  <a:pt x="26" y="0"/>
                </a:lnTo>
                <a:lnTo>
                  <a:pt x="32" y="0"/>
                </a:lnTo>
                <a:lnTo>
                  <a:pt x="38" y="4"/>
                </a:lnTo>
                <a:lnTo>
                  <a:pt x="44" y="8"/>
                </a:lnTo>
                <a:lnTo>
                  <a:pt x="46" y="14"/>
                </a:lnTo>
                <a:lnTo>
                  <a:pt x="46" y="14"/>
                </a:lnTo>
                <a:lnTo>
                  <a:pt x="48" y="20"/>
                </a:lnTo>
                <a:lnTo>
                  <a:pt x="48" y="28"/>
                </a:lnTo>
                <a:lnTo>
                  <a:pt x="46" y="34"/>
                </a:lnTo>
                <a:lnTo>
                  <a:pt x="44" y="40"/>
                </a:lnTo>
                <a:lnTo>
                  <a:pt x="44" y="40"/>
                </a:lnTo>
                <a:lnTo>
                  <a:pt x="38" y="46"/>
                </a:lnTo>
                <a:lnTo>
                  <a:pt x="32" y="48"/>
                </a:lnTo>
                <a:lnTo>
                  <a:pt x="24" y="50"/>
                </a:lnTo>
                <a:lnTo>
                  <a:pt x="18" y="50"/>
                </a:lnTo>
                <a:lnTo>
                  <a:pt x="18" y="50"/>
                </a:lnTo>
                <a:lnTo>
                  <a:pt x="8" y="46"/>
                </a:lnTo>
                <a:lnTo>
                  <a:pt x="4" y="42"/>
                </a:lnTo>
                <a:lnTo>
                  <a:pt x="0" y="38"/>
                </a:lnTo>
                <a:lnTo>
                  <a:pt x="0" y="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96" name="Freeform 372"/>
          <p:cNvSpPr>
            <a:spLocks/>
          </p:cNvSpPr>
          <p:nvPr/>
        </p:nvSpPr>
        <p:spPr bwMode="gray">
          <a:xfrm>
            <a:off x="9343629" y="382588"/>
            <a:ext cx="51594" cy="57150"/>
          </a:xfrm>
          <a:custGeom>
            <a:avLst/>
            <a:gdLst>
              <a:gd name="T0" fmla="*/ 60 w 68"/>
              <a:gd name="T1" fmla="*/ 2 h 80"/>
              <a:gd name="T2" fmla="*/ 60 w 68"/>
              <a:gd name="T3" fmla="*/ 2 h 80"/>
              <a:gd name="T4" fmla="*/ 52 w 68"/>
              <a:gd name="T5" fmla="*/ 0 h 80"/>
              <a:gd name="T6" fmla="*/ 44 w 68"/>
              <a:gd name="T7" fmla="*/ 2 h 80"/>
              <a:gd name="T8" fmla="*/ 44 w 68"/>
              <a:gd name="T9" fmla="*/ 2 h 80"/>
              <a:gd name="T10" fmla="*/ 38 w 68"/>
              <a:gd name="T11" fmla="*/ 6 h 80"/>
              <a:gd name="T12" fmla="*/ 36 w 68"/>
              <a:gd name="T13" fmla="*/ 8 h 80"/>
              <a:gd name="T14" fmla="*/ 34 w 68"/>
              <a:gd name="T15" fmla="*/ 12 h 80"/>
              <a:gd name="T16" fmla="*/ 34 w 68"/>
              <a:gd name="T17" fmla="*/ 12 h 80"/>
              <a:gd name="T18" fmla="*/ 34 w 68"/>
              <a:gd name="T19" fmla="*/ 48 h 80"/>
              <a:gd name="T20" fmla="*/ 34 w 68"/>
              <a:gd name="T21" fmla="*/ 48 h 80"/>
              <a:gd name="T22" fmla="*/ 34 w 68"/>
              <a:gd name="T23" fmla="*/ 52 h 80"/>
              <a:gd name="T24" fmla="*/ 30 w 68"/>
              <a:gd name="T25" fmla="*/ 52 h 80"/>
              <a:gd name="T26" fmla="*/ 30 w 68"/>
              <a:gd name="T27" fmla="*/ 52 h 80"/>
              <a:gd name="T28" fmla="*/ 26 w 68"/>
              <a:gd name="T29" fmla="*/ 52 h 80"/>
              <a:gd name="T30" fmla="*/ 24 w 68"/>
              <a:gd name="T31" fmla="*/ 48 h 80"/>
              <a:gd name="T32" fmla="*/ 24 w 68"/>
              <a:gd name="T33" fmla="*/ 12 h 80"/>
              <a:gd name="T34" fmla="*/ 24 w 68"/>
              <a:gd name="T35" fmla="*/ 12 h 80"/>
              <a:gd name="T36" fmla="*/ 24 w 68"/>
              <a:gd name="T37" fmla="*/ 6 h 80"/>
              <a:gd name="T38" fmla="*/ 22 w 68"/>
              <a:gd name="T39" fmla="*/ 0 h 80"/>
              <a:gd name="T40" fmla="*/ 2 w 68"/>
              <a:gd name="T41" fmla="*/ 8 h 80"/>
              <a:gd name="T42" fmla="*/ 0 w 68"/>
              <a:gd name="T43" fmla="*/ 8 h 80"/>
              <a:gd name="T44" fmla="*/ 0 w 68"/>
              <a:gd name="T45" fmla="*/ 8 h 80"/>
              <a:gd name="T46" fmla="*/ 6 w 68"/>
              <a:gd name="T47" fmla="*/ 12 h 80"/>
              <a:gd name="T48" fmla="*/ 8 w 68"/>
              <a:gd name="T49" fmla="*/ 14 h 80"/>
              <a:gd name="T50" fmla="*/ 8 w 68"/>
              <a:gd name="T51" fmla="*/ 18 h 80"/>
              <a:gd name="T52" fmla="*/ 8 w 68"/>
              <a:gd name="T53" fmla="*/ 64 h 80"/>
              <a:gd name="T54" fmla="*/ 8 w 68"/>
              <a:gd name="T55" fmla="*/ 66 h 80"/>
              <a:gd name="T56" fmla="*/ 10 w 68"/>
              <a:gd name="T57" fmla="*/ 68 h 80"/>
              <a:gd name="T58" fmla="*/ 10 w 68"/>
              <a:gd name="T59" fmla="*/ 70 h 80"/>
              <a:gd name="T60" fmla="*/ 10 w 68"/>
              <a:gd name="T61" fmla="*/ 72 h 80"/>
              <a:gd name="T62" fmla="*/ 10 w 68"/>
              <a:gd name="T63" fmla="*/ 72 h 80"/>
              <a:gd name="T64" fmla="*/ 16 w 68"/>
              <a:gd name="T65" fmla="*/ 76 h 80"/>
              <a:gd name="T66" fmla="*/ 22 w 68"/>
              <a:gd name="T67" fmla="*/ 80 h 80"/>
              <a:gd name="T68" fmla="*/ 22 w 68"/>
              <a:gd name="T69" fmla="*/ 80 h 80"/>
              <a:gd name="T70" fmla="*/ 28 w 68"/>
              <a:gd name="T71" fmla="*/ 80 h 80"/>
              <a:gd name="T72" fmla="*/ 28 w 68"/>
              <a:gd name="T73" fmla="*/ 80 h 80"/>
              <a:gd name="T74" fmla="*/ 36 w 68"/>
              <a:gd name="T75" fmla="*/ 80 h 80"/>
              <a:gd name="T76" fmla="*/ 44 w 68"/>
              <a:gd name="T77" fmla="*/ 76 h 80"/>
              <a:gd name="T78" fmla="*/ 44 w 68"/>
              <a:gd name="T79" fmla="*/ 76 h 80"/>
              <a:gd name="T80" fmla="*/ 48 w 68"/>
              <a:gd name="T81" fmla="*/ 70 h 80"/>
              <a:gd name="T82" fmla="*/ 50 w 68"/>
              <a:gd name="T83" fmla="*/ 64 h 80"/>
              <a:gd name="T84" fmla="*/ 50 w 68"/>
              <a:gd name="T85" fmla="*/ 44 h 80"/>
              <a:gd name="T86" fmla="*/ 50 w 68"/>
              <a:gd name="T87" fmla="*/ 44 h 80"/>
              <a:gd name="T88" fmla="*/ 50 w 68"/>
              <a:gd name="T89" fmla="*/ 38 h 80"/>
              <a:gd name="T90" fmla="*/ 52 w 68"/>
              <a:gd name="T91" fmla="*/ 34 h 80"/>
              <a:gd name="T92" fmla="*/ 52 w 68"/>
              <a:gd name="T93" fmla="*/ 34 h 80"/>
              <a:gd name="T94" fmla="*/ 56 w 68"/>
              <a:gd name="T95" fmla="*/ 32 h 80"/>
              <a:gd name="T96" fmla="*/ 60 w 68"/>
              <a:gd name="T97" fmla="*/ 32 h 80"/>
              <a:gd name="T98" fmla="*/ 60 w 68"/>
              <a:gd name="T99" fmla="*/ 32 h 80"/>
              <a:gd name="T100" fmla="*/ 68 w 68"/>
              <a:gd name="T101" fmla="*/ 36 h 80"/>
              <a:gd name="T102" fmla="*/ 68 w 68"/>
              <a:gd name="T103" fmla="*/ 36 h 80"/>
              <a:gd name="T104" fmla="*/ 68 w 68"/>
              <a:gd name="T105" fmla="*/ 16 h 80"/>
              <a:gd name="T106" fmla="*/ 66 w 68"/>
              <a:gd name="T107" fmla="*/ 6 h 80"/>
              <a:gd name="T108" fmla="*/ 62 w 68"/>
              <a:gd name="T109" fmla="*/ 4 h 80"/>
              <a:gd name="T110" fmla="*/ 60 w 68"/>
              <a:gd name="T111" fmla="*/ 2 h 80"/>
              <a:gd name="T112" fmla="*/ 60 w 68"/>
              <a:gd name="T113" fmla="*/ 2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8" h="80">
                <a:moveTo>
                  <a:pt x="60" y="2"/>
                </a:moveTo>
                <a:lnTo>
                  <a:pt x="60" y="2"/>
                </a:lnTo>
                <a:lnTo>
                  <a:pt x="52" y="0"/>
                </a:lnTo>
                <a:lnTo>
                  <a:pt x="44" y="2"/>
                </a:lnTo>
                <a:lnTo>
                  <a:pt x="44" y="2"/>
                </a:lnTo>
                <a:lnTo>
                  <a:pt x="38" y="6"/>
                </a:lnTo>
                <a:lnTo>
                  <a:pt x="36" y="8"/>
                </a:lnTo>
                <a:lnTo>
                  <a:pt x="34" y="12"/>
                </a:lnTo>
                <a:lnTo>
                  <a:pt x="34" y="12"/>
                </a:lnTo>
                <a:lnTo>
                  <a:pt x="34" y="48"/>
                </a:lnTo>
                <a:lnTo>
                  <a:pt x="34" y="48"/>
                </a:lnTo>
                <a:lnTo>
                  <a:pt x="34" y="52"/>
                </a:lnTo>
                <a:lnTo>
                  <a:pt x="30" y="52"/>
                </a:lnTo>
                <a:lnTo>
                  <a:pt x="30" y="52"/>
                </a:lnTo>
                <a:lnTo>
                  <a:pt x="26" y="52"/>
                </a:lnTo>
                <a:lnTo>
                  <a:pt x="24" y="48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2" y="0"/>
                </a:lnTo>
                <a:lnTo>
                  <a:pt x="2" y="8"/>
                </a:lnTo>
                <a:lnTo>
                  <a:pt x="0" y="8"/>
                </a:lnTo>
                <a:lnTo>
                  <a:pt x="0" y="8"/>
                </a:lnTo>
                <a:lnTo>
                  <a:pt x="6" y="12"/>
                </a:lnTo>
                <a:lnTo>
                  <a:pt x="8" y="14"/>
                </a:lnTo>
                <a:lnTo>
                  <a:pt x="8" y="18"/>
                </a:lnTo>
                <a:lnTo>
                  <a:pt x="8" y="64"/>
                </a:lnTo>
                <a:lnTo>
                  <a:pt x="8" y="66"/>
                </a:lnTo>
                <a:lnTo>
                  <a:pt x="10" y="68"/>
                </a:lnTo>
                <a:lnTo>
                  <a:pt x="10" y="70"/>
                </a:lnTo>
                <a:lnTo>
                  <a:pt x="10" y="72"/>
                </a:lnTo>
                <a:lnTo>
                  <a:pt x="10" y="72"/>
                </a:lnTo>
                <a:lnTo>
                  <a:pt x="16" y="76"/>
                </a:lnTo>
                <a:lnTo>
                  <a:pt x="22" y="80"/>
                </a:lnTo>
                <a:lnTo>
                  <a:pt x="22" y="80"/>
                </a:lnTo>
                <a:lnTo>
                  <a:pt x="28" y="80"/>
                </a:lnTo>
                <a:lnTo>
                  <a:pt x="28" y="80"/>
                </a:lnTo>
                <a:lnTo>
                  <a:pt x="36" y="80"/>
                </a:lnTo>
                <a:lnTo>
                  <a:pt x="44" y="76"/>
                </a:lnTo>
                <a:lnTo>
                  <a:pt x="44" y="76"/>
                </a:lnTo>
                <a:lnTo>
                  <a:pt x="48" y="70"/>
                </a:lnTo>
                <a:lnTo>
                  <a:pt x="50" y="64"/>
                </a:lnTo>
                <a:lnTo>
                  <a:pt x="50" y="44"/>
                </a:lnTo>
                <a:lnTo>
                  <a:pt x="50" y="44"/>
                </a:lnTo>
                <a:lnTo>
                  <a:pt x="50" y="38"/>
                </a:lnTo>
                <a:lnTo>
                  <a:pt x="52" y="34"/>
                </a:lnTo>
                <a:lnTo>
                  <a:pt x="52" y="34"/>
                </a:lnTo>
                <a:lnTo>
                  <a:pt x="56" y="32"/>
                </a:lnTo>
                <a:lnTo>
                  <a:pt x="60" y="32"/>
                </a:lnTo>
                <a:lnTo>
                  <a:pt x="60" y="32"/>
                </a:lnTo>
                <a:lnTo>
                  <a:pt x="68" y="36"/>
                </a:lnTo>
                <a:lnTo>
                  <a:pt x="68" y="36"/>
                </a:lnTo>
                <a:lnTo>
                  <a:pt x="68" y="16"/>
                </a:lnTo>
                <a:lnTo>
                  <a:pt x="66" y="6"/>
                </a:lnTo>
                <a:lnTo>
                  <a:pt x="62" y="4"/>
                </a:lnTo>
                <a:lnTo>
                  <a:pt x="60" y="2"/>
                </a:lnTo>
                <a:lnTo>
                  <a:pt x="60" y="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97" name="Freeform 373"/>
          <p:cNvSpPr>
            <a:spLocks/>
          </p:cNvSpPr>
          <p:nvPr/>
        </p:nvSpPr>
        <p:spPr bwMode="gray">
          <a:xfrm>
            <a:off x="9494970" y="376238"/>
            <a:ext cx="39555" cy="57150"/>
          </a:xfrm>
          <a:custGeom>
            <a:avLst/>
            <a:gdLst>
              <a:gd name="T0" fmla="*/ 40 w 52"/>
              <a:gd name="T1" fmla="*/ 68 h 80"/>
              <a:gd name="T2" fmla="*/ 40 w 52"/>
              <a:gd name="T3" fmla="*/ 68 h 80"/>
              <a:gd name="T4" fmla="*/ 16 w 52"/>
              <a:gd name="T5" fmla="*/ 46 h 80"/>
              <a:gd name="T6" fmla="*/ 6 w 52"/>
              <a:gd name="T7" fmla="*/ 36 h 80"/>
              <a:gd name="T8" fmla="*/ 2 w 52"/>
              <a:gd name="T9" fmla="*/ 28 h 80"/>
              <a:gd name="T10" fmla="*/ 2 w 52"/>
              <a:gd name="T11" fmla="*/ 28 h 80"/>
              <a:gd name="T12" fmla="*/ 0 w 52"/>
              <a:gd name="T13" fmla="*/ 20 h 80"/>
              <a:gd name="T14" fmla="*/ 0 w 52"/>
              <a:gd name="T15" fmla="*/ 10 h 80"/>
              <a:gd name="T16" fmla="*/ 0 w 52"/>
              <a:gd name="T17" fmla="*/ 10 h 80"/>
              <a:gd name="T18" fmla="*/ 12 w 52"/>
              <a:gd name="T19" fmla="*/ 0 h 80"/>
              <a:gd name="T20" fmla="*/ 12 w 52"/>
              <a:gd name="T21" fmla="*/ 0 h 80"/>
              <a:gd name="T22" fmla="*/ 12 w 52"/>
              <a:gd name="T23" fmla="*/ 14 h 80"/>
              <a:gd name="T24" fmla="*/ 12 w 52"/>
              <a:gd name="T25" fmla="*/ 20 h 80"/>
              <a:gd name="T26" fmla="*/ 14 w 52"/>
              <a:gd name="T27" fmla="*/ 26 h 80"/>
              <a:gd name="T28" fmla="*/ 14 w 52"/>
              <a:gd name="T29" fmla="*/ 26 h 80"/>
              <a:gd name="T30" fmla="*/ 46 w 52"/>
              <a:gd name="T31" fmla="*/ 56 h 80"/>
              <a:gd name="T32" fmla="*/ 46 w 52"/>
              <a:gd name="T33" fmla="*/ 56 h 80"/>
              <a:gd name="T34" fmla="*/ 52 w 52"/>
              <a:gd name="T35" fmla="*/ 64 h 80"/>
              <a:gd name="T36" fmla="*/ 52 w 52"/>
              <a:gd name="T37" fmla="*/ 68 h 80"/>
              <a:gd name="T38" fmla="*/ 50 w 52"/>
              <a:gd name="T39" fmla="*/ 72 h 80"/>
              <a:gd name="T40" fmla="*/ 50 w 52"/>
              <a:gd name="T41" fmla="*/ 72 h 80"/>
              <a:gd name="T42" fmla="*/ 46 w 52"/>
              <a:gd name="T43" fmla="*/ 80 h 80"/>
              <a:gd name="T44" fmla="*/ 46 w 52"/>
              <a:gd name="T45" fmla="*/ 80 h 80"/>
              <a:gd name="T46" fmla="*/ 44 w 52"/>
              <a:gd name="T47" fmla="*/ 74 h 80"/>
              <a:gd name="T48" fmla="*/ 40 w 52"/>
              <a:gd name="T49" fmla="*/ 68 h 80"/>
              <a:gd name="T50" fmla="*/ 40 w 52"/>
              <a:gd name="T51" fmla="*/ 68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2" h="80">
                <a:moveTo>
                  <a:pt x="40" y="68"/>
                </a:moveTo>
                <a:lnTo>
                  <a:pt x="40" y="68"/>
                </a:lnTo>
                <a:lnTo>
                  <a:pt x="16" y="46"/>
                </a:lnTo>
                <a:lnTo>
                  <a:pt x="6" y="36"/>
                </a:lnTo>
                <a:lnTo>
                  <a:pt x="2" y="28"/>
                </a:lnTo>
                <a:lnTo>
                  <a:pt x="2" y="28"/>
                </a:lnTo>
                <a:lnTo>
                  <a:pt x="0" y="20"/>
                </a:lnTo>
                <a:lnTo>
                  <a:pt x="0" y="10"/>
                </a:lnTo>
                <a:lnTo>
                  <a:pt x="0" y="10"/>
                </a:lnTo>
                <a:lnTo>
                  <a:pt x="12" y="0"/>
                </a:lnTo>
                <a:lnTo>
                  <a:pt x="12" y="0"/>
                </a:lnTo>
                <a:lnTo>
                  <a:pt x="12" y="14"/>
                </a:lnTo>
                <a:lnTo>
                  <a:pt x="12" y="20"/>
                </a:lnTo>
                <a:lnTo>
                  <a:pt x="14" y="26"/>
                </a:lnTo>
                <a:lnTo>
                  <a:pt x="14" y="26"/>
                </a:lnTo>
                <a:lnTo>
                  <a:pt x="46" y="56"/>
                </a:lnTo>
                <a:lnTo>
                  <a:pt x="46" y="56"/>
                </a:lnTo>
                <a:lnTo>
                  <a:pt x="52" y="64"/>
                </a:lnTo>
                <a:lnTo>
                  <a:pt x="52" y="68"/>
                </a:lnTo>
                <a:lnTo>
                  <a:pt x="50" y="72"/>
                </a:lnTo>
                <a:lnTo>
                  <a:pt x="50" y="72"/>
                </a:lnTo>
                <a:lnTo>
                  <a:pt x="46" y="80"/>
                </a:lnTo>
                <a:lnTo>
                  <a:pt x="46" y="80"/>
                </a:lnTo>
                <a:lnTo>
                  <a:pt x="44" y="74"/>
                </a:lnTo>
                <a:lnTo>
                  <a:pt x="40" y="68"/>
                </a:lnTo>
                <a:lnTo>
                  <a:pt x="40" y="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98" name="Freeform 374"/>
          <p:cNvSpPr>
            <a:spLocks/>
          </p:cNvSpPr>
          <p:nvPr/>
        </p:nvSpPr>
        <p:spPr bwMode="gray">
          <a:xfrm>
            <a:off x="9465733" y="376239"/>
            <a:ext cx="20638" cy="52387"/>
          </a:xfrm>
          <a:custGeom>
            <a:avLst/>
            <a:gdLst>
              <a:gd name="T0" fmla="*/ 0 w 26"/>
              <a:gd name="T1" fmla="*/ 0 h 74"/>
              <a:gd name="T2" fmla="*/ 0 w 26"/>
              <a:gd name="T3" fmla="*/ 0 h 74"/>
              <a:gd name="T4" fmla="*/ 26 w 26"/>
              <a:gd name="T5" fmla="*/ 0 h 74"/>
              <a:gd name="T6" fmla="*/ 26 w 26"/>
              <a:gd name="T7" fmla="*/ 74 h 74"/>
              <a:gd name="T8" fmla="*/ 0 w 26"/>
              <a:gd name="T9" fmla="*/ 74 h 74"/>
              <a:gd name="T10" fmla="*/ 0 w 26"/>
              <a:gd name="T11" fmla="*/ 0 h 74"/>
              <a:gd name="T12" fmla="*/ 0 w 26"/>
              <a:gd name="T13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" h="74">
                <a:moveTo>
                  <a:pt x="0" y="0"/>
                </a:moveTo>
                <a:lnTo>
                  <a:pt x="0" y="0"/>
                </a:lnTo>
                <a:lnTo>
                  <a:pt x="26" y="0"/>
                </a:lnTo>
                <a:lnTo>
                  <a:pt x="26" y="74"/>
                </a:lnTo>
                <a:lnTo>
                  <a:pt x="0" y="74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399" name="Freeform 375"/>
          <p:cNvSpPr>
            <a:spLocks/>
          </p:cNvSpPr>
          <p:nvPr/>
        </p:nvSpPr>
        <p:spPr bwMode="gray">
          <a:xfrm>
            <a:off x="9508729" y="376239"/>
            <a:ext cx="25796" cy="28575"/>
          </a:xfrm>
          <a:custGeom>
            <a:avLst/>
            <a:gdLst>
              <a:gd name="T0" fmla="*/ 0 w 34"/>
              <a:gd name="T1" fmla="*/ 6 h 40"/>
              <a:gd name="T2" fmla="*/ 0 w 34"/>
              <a:gd name="T3" fmla="*/ 6 h 40"/>
              <a:gd name="T4" fmla="*/ 8 w 34"/>
              <a:gd name="T5" fmla="*/ 0 h 40"/>
              <a:gd name="T6" fmla="*/ 14 w 34"/>
              <a:gd name="T7" fmla="*/ 6 h 40"/>
              <a:gd name="T8" fmla="*/ 14 w 34"/>
              <a:gd name="T9" fmla="*/ 28 h 40"/>
              <a:gd name="T10" fmla="*/ 14 w 34"/>
              <a:gd name="T11" fmla="*/ 28 h 40"/>
              <a:gd name="T12" fmla="*/ 14 w 34"/>
              <a:gd name="T13" fmla="*/ 28 h 40"/>
              <a:gd name="T14" fmla="*/ 18 w 34"/>
              <a:gd name="T15" fmla="*/ 24 h 40"/>
              <a:gd name="T16" fmla="*/ 20 w 34"/>
              <a:gd name="T17" fmla="*/ 16 h 40"/>
              <a:gd name="T18" fmla="*/ 20 w 34"/>
              <a:gd name="T19" fmla="*/ 0 h 40"/>
              <a:gd name="T20" fmla="*/ 20 w 34"/>
              <a:gd name="T21" fmla="*/ 0 h 40"/>
              <a:gd name="T22" fmla="*/ 34 w 34"/>
              <a:gd name="T23" fmla="*/ 12 h 40"/>
              <a:gd name="T24" fmla="*/ 34 w 34"/>
              <a:gd name="T25" fmla="*/ 12 h 40"/>
              <a:gd name="T26" fmla="*/ 34 w 34"/>
              <a:gd name="T27" fmla="*/ 20 h 40"/>
              <a:gd name="T28" fmla="*/ 32 w 34"/>
              <a:gd name="T29" fmla="*/ 28 h 40"/>
              <a:gd name="T30" fmla="*/ 22 w 34"/>
              <a:gd name="T31" fmla="*/ 40 h 40"/>
              <a:gd name="T32" fmla="*/ 0 w 34"/>
              <a:gd name="T33" fmla="*/ 18 h 40"/>
              <a:gd name="T34" fmla="*/ 0 w 34"/>
              <a:gd name="T35" fmla="*/ 6 h 40"/>
              <a:gd name="T36" fmla="*/ 0 w 34"/>
              <a:gd name="T37" fmla="*/ 6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" h="40">
                <a:moveTo>
                  <a:pt x="0" y="6"/>
                </a:moveTo>
                <a:lnTo>
                  <a:pt x="0" y="6"/>
                </a:lnTo>
                <a:lnTo>
                  <a:pt x="8" y="0"/>
                </a:lnTo>
                <a:lnTo>
                  <a:pt x="14" y="6"/>
                </a:lnTo>
                <a:lnTo>
                  <a:pt x="14" y="28"/>
                </a:lnTo>
                <a:lnTo>
                  <a:pt x="14" y="28"/>
                </a:lnTo>
                <a:lnTo>
                  <a:pt x="14" y="28"/>
                </a:lnTo>
                <a:lnTo>
                  <a:pt x="18" y="24"/>
                </a:lnTo>
                <a:lnTo>
                  <a:pt x="20" y="16"/>
                </a:lnTo>
                <a:lnTo>
                  <a:pt x="20" y="0"/>
                </a:lnTo>
                <a:lnTo>
                  <a:pt x="20" y="0"/>
                </a:lnTo>
                <a:lnTo>
                  <a:pt x="34" y="12"/>
                </a:lnTo>
                <a:lnTo>
                  <a:pt x="34" y="12"/>
                </a:lnTo>
                <a:lnTo>
                  <a:pt x="34" y="20"/>
                </a:lnTo>
                <a:lnTo>
                  <a:pt x="32" y="28"/>
                </a:lnTo>
                <a:lnTo>
                  <a:pt x="22" y="40"/>
                </a:lnTo>
                <a:lnTo>
                  <a:pt x="0" y="18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00" name="Freeform 376"/>
          <p:cNvSpPr>
            <a:spLocks/>
          </p:cNvSpPr>
          <p:nvPr/>
        </p:nvSpPr>
        <p:spPr bwMode="gray">
          <a:xfrm>
            <a:off x="9474333" y="287339"/>
            <a:ext cx="61913" cy="53975"/>
          </a:xfrm>
          <a:custGeom>
            <a:avLst/>
            <a:gdLst>
              <a:gd name="T0" fmla="*/ 64 w 80"/>
              <a:gd name="T1" fmla="*/ 76 h 76"/>
              <a:gd name="T2" fmla="*/ 68 w 80"/>
              <a:gd name="T3" fmla="*/ 62 h 76"/>
              <a:gd name="T4" fmla="*/ 80 w 80"/>
              <a:gd name="T5" fmla="*/ 60 h 76"/>
              <a:gd name="T6" fmla="*/ 80 w 80"/>
              <a:gd name="T7" fmla="*/ 24 h 76"/>
              <a:gd name="T8" fmla="*/ 80 w 80"/>
              <a:gd name="T9" fmla="*/ 24 h 76"/>
              <a:gd name="T10" fmla="*/ 70 w 80"/>
              <a:gd name="T11" fmla="*/ 26 h 76"/>
              <a:gd name="T12" fmla="*/ 70 w 80"/>
              <a:gd name="T13" fmla="*/ 0 h 76"/>
              <a:gd name="T14" fmla="*/ 70 w 80"/>
              <a:gd name="T15" fmla="*/ 0 h 76"/>
              <a:gd name="T16" fmla="*/ 52 w 80"/>
              <a:gd name="T17" fmla="*/ 4 h 76"/>
              <a:gd name="T18" fmla="*/ 52 w 80"/>
              <a:gd name="T19" fmla="*/ 48 h 76"/>
              <a:gd name="T20" fmla="*/ 52 w 80"/>
              <a:gd name="T21" fmla="*/ 48 h 76"/>
              <a:gd name="T22" fmla="*/ 52 w 80"/>
              <a:gd name="T23" fmla="*/ 48 h 76"/>
              <a:gd name="T24" fmla="*/ 50 w 80"/>
              <a:gd name="T25" fmla="*/ 50 h 76"/>
              <a:gd name="T26" fmla="*/ 48 w 80"/>
              <a:gd name="T27" fmla="*/ 52 h 76"/>
              <a:gd name="T28" fmla="*/ 46 w 80"/>
              <a:gd name="T29" fmla="*/ 52 h 76"/>
              <a:gd name="T30" fmla="*/ 46 w 80"/>
              <a:gd name="T31" fmla="*/ 52 h 76"/>
              <a:gd name="T32" fmla="*/ 44 w 80"/>
              <a:gd name="T33" fmla="*/ 50 h 76"/>
              <a:gd name="T34" fmla="*/ 42 w 80"/>
              <a:gd name="T35" fmla="*/ 48 h 76"/>
              <a:gd name="T36" fmla="*/ 42 w 80"/>
              <a:gd name="T37" fmla="*/ 48 h 76"/>
              <a:gd name="T38" fmla="*/ 42 w 80"/>
              <a:gd name="T39" fmla="*/ 6 h 76"/>
              <a:gd name="T40" fmla="*/ 24 w 80"/>
              <a:gd name="T41" fmla="*/ 8 h 76"/>
              <a:gd name="T42" fmla="*/ 24 w 80"/>
              <a:gd name="T43" fmla="*/ 26 h 76"/>
              <a:gd name="T44" fmla="*/ 24 w 80"/>
              <a:gd name="T45" fmla="*/ 26 h 76"/>
              <a:gd name="T46" fmla="*/ 14 w 80"/>
              <a:gd name="T47" fmla="*/ 44 h 76"/>
              <a:gd name="T48" fmla="*/ 0 w 80"/>
              <a:gd name="T49" fmla="*/ 62 h 76"/>
              <a:gd name="T50" fmla="*/ 0 w 80"/>
              <a:gd name="T51" fmla="*/ 62 h 76"/>
              <a:gd name="T52" fmla="*/ 20 w 80"/>
              <a:gd name="T53" fmla="*/ 62 h 76"/>
              <a:gd name="T54" fmla="*/ 26 w 80"/>
              <a:gd name="T55" fmla="*/ 76 h 76"/>
              <a:gd name="T56" fmla="*/ 64 w 80"/>
              <a:gd name="T57" fmla="*/ 76 h 76"/>
              <a:gd name="T58" fmla="*/ 64 w 80"/>
              <a:gd name="T59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0" h="76">
                <a:moveTo>
                  <a:pt x="64" y="76"/>
                </a:moveTo>
                <a:lnTo>
                  <a:pt x="68" y="62"/>
                </a:lnTo>
                <a:lnTo>
                  <a:pt x="80" y="60"/>
                </a:lnTo>
                <a:lnTo>
                  <a:pt x="80" y="24"/>
                </a:lnTo>
                <a:lnTo>
                  <a:pt x="80" y="24"/>
                </a:lnTo>
                <a:lnTo>
                  <a:pt x="70" y="26"/>
                </a:lnTo>
                <a:lnTo>
                  <a:pt x="70" y="0"/>
                </a:lnTo>
                <a:lnTo>
                  <a:pt x="70" y="0"/>
                </a:lnTo>
                <a:lnTo>
                  <a:pt x="52" y="4"/>
                </a:lnTo>
                <a:lnTo>
                  <a:pt x="52" y="48"/>
                </a:lnTo>
                <a:lnTo>
                  <a:pt x="52" y="48"/>
                </a:lnTo>
                <a:lnTo>
                  <a:pt x="52" y="48"/>
                </a:lnTo>
                <a:lnTo>
                  <a:pt x="50" y="50"/>
                </a:lnTo>
                <a:lnTo>
                  <a:pt x="48" y="52"/>
                </a:lnTo>
                <a:lnTo>
                  <a:pt x="46" y="52"/>
                </a:lnTo>
                <a:lnTo>
                  <a:pt x="46" y="52"/>
                </a:lnTo>
                <a:lnTo>
                  <a:pt x="44" y="50"/>
                </a:lnTo>
                <a:lnTo>
                  <a:pt x="42" y="48"/>
                </a:lnTo>
                <a:lnTo>
                  <a:pt x="42" y="48"/>
                </a:lnTo>
                <a:lnTo>
                  <a:pt x="42" y="6"/>
                </a:lnTo>
                <a:lnTo>
                  <a:pt x="24" y="8"/>
                </a:lnTo>
                <a:lnTo>
                  <a:pt x="24" y="26"/>
                </a:lnTo>
                <a:lnTo>
                  <a:pt x="24" y="26"/>
                </a:lnTo>
                <a:lnTo>
                  <a:pt x="14" y="44"/>
                </a:lnTo>
                <a:lnTo>
                  <a:pt x="0" y="62"/>
                </a:lnTo>
                <a:lnTo>
                  <a:pt x="0" y="62"/>
                </a:lnTo>
                <a:lnTo>
                  <a:pt x="20" y="62"/>
                </a:lnTo>
                <a:lnTo>
                  <a:pt x="26" y="76"/>
                </a:lnTo>
                <a:lnTo>
                  <a:pt x="64" y="76"/>
                </a:lnTo>
                <a:lnTo>
                  <a:pt x="64" y="7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01" name="Freeform 377"/>
          <p:cNvSpPr>
            <a:spLocks/>
          </p:cNvSpPr>
          <p:nvPr/>
        </p:nvSpPr>
        <p:spPr bwMode="gray">
          <a:xfrm>
            <a:off x="9369425" y="312738"/>
            <a:ext cx="8600" cy="23812"/>
          </a:xfrm>
          <a:custGeom>
            <a:avLst/>
            <a:gdLst>
              <a:gd name="T0" fmla="*/ 2 w 10"/>
              <a:gd name="T1" fmla="*/ 30 h 34"/>
              <a:gd name="T2" fmla="*/ 2 w 10"/>
              <a:gd name="T3" fmla="*/ 30 h 34"/>
              <a:gd name="T4" fmla="*/ 0 w 10"/>
              <a:gd name="T5" fmla="*/ 0 h 34"/>
              <a:gd name="T6" fmla="*/ 0 w 10"/>
              <a:gd name="T7" fmla="*/ 0 h 34"/>
              <a:gd name="T8" fmla="*/ 6 w 10"/>
              <a:gd name="T9" fmla="*/ 0 h 34"/>
              <a:gd name="T10" fmla="*/ 10 w 10"/>
              <a:gd name="T11" fmla="*/ 4 h 34"/>
              <a:gd name="T12" fmla="*/ 10 w 10"/>
              <a:gd name="T13" fmla="*/ 4 h 34"/>
              <a:gd name="T14" fmla="*/ 10 w 10"/>
              <a:gd name="T15" fmla="*/ 34 h 34"/>
              <a:gd name="T16" fmla="*/ 2 w 10"/>
              <a:gd name="T17" fmla="*/ 34 h 34"/>
              <a:gd name="T18" fmla="*/ 2 w 10"/>
              <a:gd name="T19" fmla="*/ 30 h 34"/>
              <a:gd name="T20" fmla="*/ 2 w 10"/>
              <a:gd name="T21" fmla="*/ 3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" h="34">
                <a:moveTo>
                  <a:pt x="2" y="30"/>
                </a:moveTo>
                <a:lnTo>
                  <a:pt x="2" y="30"/>
                </a:lnTo>
                <a:lnTo>
                  <a:pt x="0" y="0"/>
                </a:lnTo>
                <a:lnTo>
                  <a:pt x="0" y="0"/>
                </a:lnTo>
                <a:lnTo>
                  <a:pt x="6" y="0"/>
                </a:lnTo>
                <a:lnTo>
                  <a:pt x="10" y="4"/>
                </a:lnTo>
                <a:lnTo>
                  <a:pt x="10" y="4"/>
                </a:lnTo>
                <a:lnTo>
                  <a:pt x="10" y="34"/>
                </a:lnTo>
                <a:lnTo>
                  <a:pt x="2" y="34"/>
                </a:lnTo>
                <a:lnTo>
                  <a:pt x="2" y="30"/>
                </a:lnTo>
                <a:lnTo>
                  <a:pt x="2" y="3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02" name="Freeform 378"/>
          <p:cNvSpPr>
            <a:spLocks/>
          </p:cNvSpPr>
          <p:nvPr/>
        </p:nvSpPr>
        <p:spPr bwMode="gray">
          <a:xfrm>
            <a:off x="9362546" y="268288"/>
            <a:ext cx="24077" cy="23812"/>
          </a:xfrm>
          <a:custGeom>
            <a:avLst/>
            <a:gdLst>
              <a:gd name="T0" fmla="*/ 10 w 32"/>
              <a:gd name="T1" fmla="*/ 28 h 34"/>
              <a:gd name="T2" fmla="*/ 10 w 32"/>
              <a:gd name="T3" fmla="*/ 28 h 34"/>
              <a:gd name="T4" fmla="*/ 6 w 32"/>
              <a:gd name="T5" fmla="*/ 8 h 34"/>
              <a:gd name="T6" fmla="*/ 6 w 32"/>
              <a:gd name="T7" fmla="*/ 8 h 34"/>
              <a:gd name="T8" fmla="*/ 0 w 32"/>
              <a:gd name="T9" fmla="*/ 8 h 34"/>
              <a:gd name="T10" fmla="*/ 0 w 32"/>
              <a:gd name="T11" fmla="*/ 0 h 34"/>
              <a:gd name="T12" fmla="*/ 0 w 32"/>
              <a:gd name="T13" fmla="*/ 0 h 34"/>
              <a:gd name="T14" fmla="*/ 32 w 32"/>
              <a:gd name="T15" fmla="*/ 0 h 34"/>
              <a:gd name="T16" fmla="*/ 32 w 32"/>
              <a:gd name="T17" fmla="*/ 8 h 34"/>
              <a:gd name="T18" fmla="*/ 32 w 32"/>
              <a:gd name="T19" fmla="*/ 8 h 34"/>
              <a:gd name="T20" fmla="*/ 24 w 32"/>
              <a:gd name="T21" fmla="*/ 8 h 34"/>
              <a:gd name="T22" fmla="*/ 20 w 32"/>
              <a:gd name="T23" fmla="*/ 34 h 34"/>
              <a:gd name="T24" fmla="*/ 20 w 32"/>
              <a:gd name="T25" fmla="*/ 34 h 34"/>
              <a:gd name="T26" fmla="*/ 16 w 32"/>
              <a:gd name="T27" fmla="*/ 30 h 34"/>
              <a:gd name="T28" fmla="*/ 10 w 32"/>
              <a:gd name="T29" fmla="*/ 28 h 34"/>
              <a:gd name="T30" fmla="*/ 10 w 32"/>
              <a:gd name="T31" fmla="*/ 28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2" h="34">
                <a:moveTo>
                  <a:pt x="10" y="28"/>
                </a:moveTo>
                <a:lnTo>
                  <a:pt x="10" y="28"/>
                </a:lnTo>
                <a:lnTo>
                  <a:pt x="6" y="8"/>
                </a:lnTo>
                <a:lnTo>
                  <a:pt x="6" y="8"/>
                </a:lnTo>
                <a:lnTo>
                  <a:pt x="0" y="8"/>
                </a:lnTo>
                <a:lnTo>
                  <a:pt x="0" y="0"/>
                </a:lnTo>
                <a:lnTo>
                  <a:pt x="0" y="0"/>
                </a:lnTo>
                <a:lnTo>
                  <a:pt x="32" y="0"/>
                </a:lnTo>
                <a:lnTo>
                  <a:pt x="32" y="8"/>
                </a:lnTo>
                <a:lnTo>
                  <a:pt x="32" y="8"/>
                </a:lnTo>
                <a:lnTo>
                  <a:pt x="24" y="8"/>
                </a:lnTo>
                <a:lnTo>
                  <a:pt x="20" y="34"/>
                </a:lnTo>
                <a:lnTo>
                  <a:pt x="20" y="34"/>
                </a:lnTo>
                <a:lnTo>
                  <a:pt x="16" y="30"/>
                </a:lnTo>
                <a:lnTo>
                  <a:pt x="10" y="28"/>
                </a:lnTo>
                <a:lnTo>
                  <a:pt x="10" y="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03" name="Freeform 379"/>
          <p:cNvSpPr>
            <a:spLocks/>
          </p:cNvSpPr>
          <p:nvPr/>
        </p:nvSpPr>
        <p:spPr bwMode="gray">
          <a:xfrm>
            <a:off x="9360826" y="214313"/>
            <a:ext cx="27517" cy="49212"/>
          </a:xfrm>
          <a:custGeom>
            <a:avLst/>
            <a:gdLst>
              <a:gd name="T0" fmla="*/ 10 w 36"/>
              <a:gd name="T1" fmla="*/ 70 h 70"/>
              <a:gd name="T2" fmla="*/ 10 w 36"/>
              <a:gd name="T3" fmla="*/ 70 h 70"/>
              <a:gd name="T4" fmla="*/ 4 w 36"/>
              <a:gd name="T5" fmla="*/ 60 h 70"/>
              <a:gd name="T6" fmla="*/ 0 w 36"/>
              <a:gd name="T7" fmla="*/ 48 h 70"/>
              <a:gd name="T8" fmla="*/ 0 w 36"/>
              <a:gd name="T9" fmla="*/ 36 h 70"/>
              <a:gd name="T10" fmla="*/ 0 w 36"/>
              <a:gd name="T11" fmla="*/ 24 h 70"/>
              <a:gd name="T12" fmla="*/ 0 w 36"/>
              <a:gd name="T13" fmla="*/ 24 h 70"/>
              <a:gd name="T14" fmla="*/ 0 w 36"/>
              <a:gd name="T15" fmla="*/ 24 h 70"/>
              <a:gd name="T16" fmla="*/ 4 w 36"/>
              <a:gd name="T17" fmla="*/ 32 h 70"/>
              <a:gd name="T18" fmla="*/ 12 w 36"/>
              <a:gd name="T19" fmla="*/ 38 h 70"/>
              <a:gd name="T20" fmla="*/ 12 w 36"/>
              <a:gd name="T21" fmla="*/ 38 h 70"/>
              <a:gd name="T22" fmla="*/ 8 w 36"/>
              <a:gd name="T23" fmla="*/ 28 h 70"/>
              <a:gd name="T24" fmla="*/ 8 w 36"/>
              <a:gd name="T25" fmla="*/ 28 h 70"/>
              <a:gd name="T26" fmla="*/ 6 w 36"/>
              <a:gd name="T27" fmla="*/ 18 h 70"/>
              <a:gd name="T28" fmla="*/ 8 w 36"/>
              <a:gd name="T29" fmla="*/ 12 h 70"/>
              <a:gd name="T30" fmla="*/ 10 w 36"/>
              <a:gd name="T31" fmla="*/ 8 h 70"/>
              <a:gd name="T32" fmla="*/ 10 w 36"/>
              <a:gd name="T33" fmla="*/ 8 h 70"/>
              <a:gd name="T34" fmla="*/ 16 w 36"/>
              <a:gd name="T35" fmla="*/ 2 h 70"/>
              <a:gd name="T36" fmla="*/ 22 w 36"/>
              <a:gd name="T37" fmla="*/ 0 h 70"/>
              <a:gd name="T38" fmla="*/ 22 w 36"/>
              <a:gd name="T39" fmla="*/ 0 h 70"/>
              <a:gd name="T40" fmla="*/ 20 w 36"/>
              <a:gd name="T41" fmla="*/ 8 h 70"/>
              <a:gd name="T42" fmla="*/ 22 w 36"/>
              <a:gd name="T43" fmla="*/ 16 h 70"/>
              <a:gd name="T44" fmla="*/ 22 w 36"/>
              <a:gd name="T45" fmla="*/ 16 h 70"/>
              <a:gd name="T46" fmla="*/ 26 w 36"/>
              <a:gd name="T47" fmla="*/ 12 h 70"/>
              <a:gd name="T48" fmla="*/ 26 w 36"/>
              <a:gd name="T49" fmla="*/ 12 h 70"/>
              <a:gd name="T50" fmla="*/ 28 w 36"/>
              <a:gd name="T51" fmla="*/ 10 h 70"/>
              <a:gd name="T52" fmla="*/ 28 w 36"/>
              <a:gd name="T53" fmla="*/ 10 h 70"/>
              <a:gd name="T54" fmla="*/ 34 w 36"/>
              <a:gd name="T55" fmla="*/ 26 h 70"/>
              <a:gd name="T56" fmla="*/ 36 w 36"/>
              <a:gd name="T57" fmla="*/ 34 h 70"/>
              <a:gd name="T58" fmla="*/ 36 w 36"/>
              <a:gd name="T59" fmla="*/ 42 h 70"/>
              <a:gd name="T60" fmla="*/ 34 w 36"/>
              <a:gd name="T61" fmla="*/ 48 h 70"/>
              <a:gd name="T62" fmla="*/ 34 w 36"/>
              <a:gd name="T63" fmla="*/ 48 h 70"/>
              <a:gd name="T64" fmla="*/ 32 w 36"/>
              <a:gd name="T65" fmla="*/ 38 h 70"/>
              <a:gd name="T66" fmla="*/ 30 w 36"/>
              <a:gd name="T67" fmla="*/ 36 h 70"/>
              <a:gd name="T68" fmla="*/ 26 w 36"/>
              <a:gd name="T69" fmla="*/ 34 h 70"/>
              <a:gd name="T70" fmla="*/ 26 w 36"/>
              <a:gd name="T71" fmla="*/ 34 h 70"/>
              <a:gd name="T72" fmla="*/ 28 w 36"/>
              <a:gd name="T73" fmla="*/ 40 h 70"/>
              <a:gd name="T74" fmla="*/ 30 w 36"/>
              <a:gd name="T75" fmla="*/ 46 h 70"/>
              <a:gd name="T76" fmla="*/ 30 w 36"/>
              <a:gd name="T77" fmla="*/ 46 h 70"/>
              <a:gd name="T78" fmla="*/ 30 w 36"/>
              <a:gd name="T79" fmla="*/ 54 h 70"/>
              <a:gd name="T80" fmla="*/ 30 w 36"/>
              <a:gd name="T81" fmla="*/ 60 h 70"/>
              <a:gd name="T82" fmla="*/ 28 w 36"/>
              <a:gd name="T83" fmla="*/ 64 h 70"/>
              <a:gd name="T84" fmla="*/ 24 w 36"/>
              <a:gd name="T85" fmla="*/ 70 h 70"/>
              <a:gd name="T86" fmla="*/ 10 w 36"/>
              <a:gd name="T87" fmla="*/ 70 h 70"/>
              <a:gd name="T88" fmla="*/ 10 w 36"/>
              <a:gd name="T89" fmla="*/ 7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6" h="70">
                <a:moveTo>
                  <a:pt x="10" y="70"/>
                </a:moveTo>
                <a:lnTo>
                  <a:pt x="10" y="70"/>
                </a:lnTo>
                <a:lnTo>
                  <a:pt x="4" y="60"/>
                </a:lnTo>
                <a:lnTo>
                  <a:pt x="0" y="48"/>
                </a:lnTo>
                <a:lnTo>
                  <a:pt x="0" y="36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4" y="32"/>
                </a:lnTo>
                <a:lnTo>
                  <a:pt x="12" y="38"/>
                </a:lnTo>
                <a:lnTo>
                  <a:pt x="12" y="38"/>
                </a:lnTo>
                <a:lnTo>
                  <a:pt x="8" y="28"/>
                </a:lnTo>
                <a:lnTo>
                  <a:pt x="8" y="28"/>
                </a:lnTo>
                <a:lnTo>
                  <a:pt x="6" y="18"/>
                </a:lnTo>
                <a:lnTo>
                  <a:pt x="8" y="12"/>
                </a:lnTo>
                <a:lnTo>
                  <a:pt x="10" y="8"/>
                </a:lnTo>
                <a:lnTo>
                  <a:pt x="10" y="8"/>
                </a:lnTo>
                <a:lnTo>
                  <a:pt x="16" y="2"/>
                </a:lnTo>
                <a:lnTo>
                  <a:pt x="22" y="0"/>
                </a:lnTo>
                <a:lnTo>
                  <a:pt x="22" y="0"/>
                </a:lnTo>
                <a:lnTo>
                  <a:pt x="20" y="8"/>
                </a:lnTo>
                <a:lnTo>
                  <a:pt x="22" y="16"/>
                </a:lnTo>
                <a:lnTo>
                  <a:pt x="22" y="16"/>
                </a:lnTo>
                <a:lnTo>
                  <a:pt x="26" y="12"/>
                </a:lnTo>
                <a:lnTo>
                  <a:pt x="26" y="12"/>
                </a:lnTo>
                <a:lnTo>
                  <a:pt x="28" y="10"/>
                </a:lnTo>
                <a:lnTo>
                  <a:pt x="28" y="10"/>
                </a:lnTo>
                <a:lnTo>
                  <a:pt x="34" y="26"/>
                </a:lnTo>
                <a:lnTo>
                  <a:pt x="36" y="34"/>
                </a:lnTo>
                <a:lnTo>
                  <a:pt x="36" y="42"/>
                </a:lnTo>
                <a:lnTo>
                  <a:pt x="34" y="48"/>
                </a:lnTo>
                <a:lnTo>
                  <a:pt x="34" y="48"/>
                </a:lnTo>
                <a:lnTo>
                  <a:pt x="32" y="38"/>
                </a:lnTo>
                <a:lnTo>
                  <a:pt x="30" y="36"/>
                </a:lnTo>
                <a:lnTo>
                  <a:pt x="26" y="34"/>
                </a:lnTo>
                <a:lnTo>
                  <a:pt x="26" y="34"/>
                </a:lnTo>
                <a:lnTo>
                  <a:pt x="28" y="40"/>
                </a:lnTo>
                <a:lnTo>
                  <a:pt x="30" y="46"/>
                </a:lnTo>
                <a:lnTo>
                  <a:pt x="30" y="46"/>
                </a:lnTo>
                <a:lnTo>
                  <a:pt x="30" y="54"/>
                </a:lnTo>
                <a:lnTo>
                  <a:pt x="30" y="60"/>
                </a:lnTo>
                <a:lnTo>
                  <a:pt x="28" y="64"/>
                </a:lnTo>
                <a:lnTo>
                  <a:pt x="24" y="70"/>
                </a:lnTo>
                <a:lnTo>
                  <a:pt x="10" y="70"/>
                </a:lnTo>
                <a:lnTo>
                  <a:pt x="10" y="7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04" name="Freeform 380"/>
          <p:cNvSpPr>
            <a:spLocks/>
          </p:cNvSpPr>
          <p:nvPr/>
        </p:nvSpPr>
        <p:spPr bwMode="gray">
          <a:xfrm>
            <a:off x="9457135" y="242889"/>
            <a:ext cx="15478" cy="14287"/>
          </a:xfrm>
          <a:custGeom>
            <a:avLst/>
            <a:gdLst>
              <a:gd name="T0" fmla="*/ 18 w 18"/>
              <a:gd name="T1" fmla="*/ 8 h 20"/>
              <a:gd name="T2" fmla="*/ 6 w 18"/>
              <a:gd name="T3" fmla="*/ 20 h 20"/>
              <a:gd name="T4" fmla="*/ 6 w 18"/>
              <a:gd name="T5" fmla="*/ 20 h 20"/>
              <a:gd name="T6" fmla="*/ 0 w 18"/>
              <a:gd name="T7" fmla="*/ 14 h 20"/>
              <a:gd name="T8" fmla="*/ 0 w 18"/>
              <a:gd name="T9" fmla="*/ 14 h 20"/>
              <a:gd name="T10" fmla="*/ 12 w 18"/>
              <a:gd name="T11" fmla="*/ 0 h 20"/>
              <a:gd name="T12" fmla="*/ 18 w 18"/>
              <a:gd name="T13" fmla="*/ 8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20">
                <a:moveTo>
                  <a:pt x="18" y="8"/>
                </a:moveTo>
                <a:lnTo>
                  <a:pt x="6" y="20"/>
                </a:lnTo>
                <a:lnTo>
                  <a:pt x="6" y="20"/>
                </a:lnTo>
                <a:lnTo>
                  <a:pt x="0" y="14"/>
                </a:lnTo>
                <a:lnTo>
                  <a:pt x="0" y="14"/>
                </a:lnTo>
                <a:lnTo>
                  <a:pt x="12" y="0"/>
                </a:lnTo>
                <a:lnTo>
                  <a:pt x="18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05" name="Freeform 381"/>
          <p:cNvSpPr>
            <a:spLocks/>
          </p:cNvSpPr>
          <p:nvPr/>
        </p:nvSpPr>
        <p:spPr bwMode="gray">
          <a:xfrm>
            <a:off x="9457135" y="242889"/>
            <a:ext cx="15478" cy="14287"/>
          </a:xfrm>
          <a:custGeom>
            <a:avLst/>
            <a:gdLst>
              <a:gd name="T0" fmla="*/ 18 w 18"/>
              <a:gd name="T1" fmla="*/ 8 h 20"/>
              <a:gd name="T2" fmla="*/ 6 w 18"/>
              <a:gd name="T3" fmla="*/ 20 h 20"/>
              <a:gd name="T4" fmla="*/ 6 w 18"/>
              <a:gd name="T5" fmla="*/ 20 h 20"/>
              <a:gd name="T6" fmla="*/ 0 w 18"/>
              <a:gd name="T7" fmla="*/ 14 h 20"/>
              <a:gd name="T8" fmla="*/ 0 w 18"/>
              <a:gd name="T9" fmla="*/ 14 h 20"/>
              <a:gd name="T10" fmla="*/ 12 w 18"/>
              <a:gd name="T11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" h="20">
                <a:moveTo>
                  <a:pt x="18" y="8"/>
                </a:moveTo>
                <a:lnTo>
                  <a:pt x="6" y="20"/>
                </a:lnTo>
                <a:lnTo>
                  <a:pt x="6" y="20"/>
                </a:lnTo>
                <a:lnTo>
                  <a:pt x="0" y="14"/>
                </a:lnTo>
                <a:lnTo>
                  <a:pt x="0" y="14"/>
                </a:lnTo>
                <a:lnTo>
                  <a:pt x="1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06" name="Freeform 382"/>
          <p:cNvSpPr>
            <a:spLocks/>
          </p:cNvSpPr>
          <p:nvPr/>
        </p:nvSpPr>
        <p:spPr bwMode="gray">
          <a:xfrm>
            <a:off x="9482932" y="207963"/>
            <a:ext cx="25797" cy="25400"/>
          </a:xfrm>
          <a:custGeom>
            <a:avLst/>
            <a:gdLst>
              <a:gd name="T0" fmla="*/ 0 w 34"/>
              <a:gd name="T1" fmla="*/ 28 h 36"/>
              <a:gd name="T2" fmla="*/ 0 w 34"/>
              <a:gd name="T3" fmla="*/ 28 h 36"/>
              <a:gd name="T4" fmla="*/ 4 w 34"/>
              <a:gd name="T5" fmla="*/ 12 h 36"/>
              <a:gd name="T6" fmla="*/ 8 w 34"/>
              <a:gd name="T7" fmla="*/ 6 h 36"/>
              <a:gd name="T8" fmla="*/ 14 w 34"/>
              <a:gd name="T9" fmla="*/ 0 h 36"/>
              <a:gd name="T10" fmla="*/ 14 w 34"/>
              <a:gd name="T11" fmla="*/ 0 h 36"/>
              <a:gd name="T12" fmla="*/ 22 w 34"/>
              <a:gd name="T13" fmla="*/ 0 h 36"/>
              <a:gd name="T14" fmla="*/ 28 w 34"/>
              <a:gd name="T15" fmla="*/ 4 h 36"/>
              <a:gd name="T16" fmla="*/ 28 w 34"/>
              <a:gd name="T17" fmla="*/ 4 h 36"/>
              <a:gd name="T18" fmla="*/ 32 w 34"/>
              <a:gd name="T19" fmla="*/ 6 h 36"/>
              <a:gd name="T20" fmla="*/ 34 w 34"/>
              <a:gd name="T21" fmla="*/ 10 h 36"/>
              <a:gd name="T22" fmla="*/ 34 w 34"/>
              <a:gd name="T23" fmla="*/ 18 h 36"/>
              <a:gd name="T24" fmla="*/ 34 w 34"/>
              <a:gd name="T25" fmla="*/ 18 h 36"/>
              <a:gd name="T26" fmla="*/ 30 w 34"/>
              <a:gd name="T27" fmla="*/ 26 h 36"/>
              <a:gd name="T28" fmla="*/ 22 w 34"/>
              <a:gd name="T29" fmla="*/ 30 h 36"/>
              <a:gd name="T30" fmla="*/ 14 w 34"/>
              <a:gd name="T31" fmla="*/ 34 h 36"/>
              <a:gd name="T32" fmla="*/ 6 w 34"/>
              <a:gd name="T33" fmla="*/ 36 h 36"/>
              <a:gd name="T34" fmla="*/ 0 w 34"/>
              <a:gd name="T35" fmla="*/ 28 h 36"/>
              <a:gd name="T36" fmla="*/ 0 w 34"/>
              <a:gd name="T37" fmla="*/ 28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" h="36">
                <a:moveTo>
                  <a:pt x="0" y="28"/>
                </a:moveTo>
                <a:lnTo>
                  <a:pt x="0" y="28"/>
                </a:lnTo>
                <a:lnTo>
                  <a:pt x="4" y="12"/>
                </a:lnTo>
                <a:lnTo>
                  <a:pt x="8" y="6"/>
                </a:lnTo>
                <a:lnTo>
                  <a:pt x="14" y="0"/>
                </a:lnTo>
                <a:lnTo>
                  <a:pt x="14" y="0"/>
                </a:lnTo>
                <a:lnTo>
                  <a:pt x="22" y="0"/>
                </a:lnTo>
                <a:lnTo>
                  <a:pt x="28" y="4"/>
                </a:lnTo>
                <a:lnTo>
                  <a:pt x="28" y="4"/>
                </a:lnTo>
                <a:lnTo>
                  <a:pt x="32" y="6"/>
                </a:lnTo>
                <a:lnTo>
                  <a:pt x="34" y="10"/>
                </a:lnTo>
                <a:lnTo>
                  <a:pt x="34" y="18"/>
                </a:lnTo>
                <a:lnTo>
                  <a:pt x="34" y="18"/>
                </a:lnTo>
                <a:lnTo>
                  <a:pt x="30" y="26"/>
                </a:lnTo>
                <a:lnTo>
                  <a:pt x="22" y="30"/>
                </a:lnTo>
                <a:lnTo>
                  <a:pt x="14" y="34"/>
                </a:lnTo>
                <a:lnTo>
                  <a:pt x="6" y="36"/>
                </a:lnTo>
                <a:lnTo>
                  <a:pt x="0" y="28"/>
                </a:lnTo>
                <a:lnTo>
                  <a:pt x="0" y="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07" name="Freeform 383"/>
          <p:cNvSpPr>
            <a:spLocks/>
          </p:cNvSpPr>
          <p:nvPr/>
        </p:nvSpPr>
        <p:spPr bwMode="gray">
          <a:xfrm>
            <a:off x="9474333" y="349251"/>
            <a:ext cx="67071" cy="17463"/>
          </a:xfrm>
          <a:custGeom>
            <a:avLst/>
            <a:gdLst>
              <a:gd name="T0" fmla="*/ 86 w 86"/>
              <a:gd name="T1" fmla="*/ 0 h 26"/>
              <a:gd name="T2" fmla="*/ 86 w 86"/>
              <a:gd name="T3" fmla="*/ 26 h 26"/>
              <a:gd name="T4" fmla="*/ 0 w 86"/>
              <a:gd name="T5" fmla="*/ 26 h 26"/>
              <a:gd name="T6" fmla="*/ 0 w 86"/>
              <a:gd name="T7" fmla="*/ 0 h 26"/>
              <a:gd name="T8" fmla="*/ 86 w 86"/>
              <a:gd name="T9" fmla="*/ 0 h 26"/>
              <a:gd name="T10" fmla="*/ 86 w 86"/>
              <a:gd name="T11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26">
                <a:moveTo>
                  <a:pt x="86" y="0"/>
                </a:moveTo>
                <a:lnTo>
                  <a:pt x="86" y="26"/>
                </a:lnTo>
                <a:lnTo>
                  <a:pt x="0" y="26"/>
                </a:lnTo>
                <a:lnTo>
                  <a:pt x="0" y="0"/>
                </a:lnTo>
                <a:lnTo>
                  <a:pt x="86" y="0"/>
                </a:lnTo>
                <a:lnTo>
                  <a:pt x="8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08" name="Freeform 384"/>
          <p:cNvSpPr>
            <a:spLocks/>
          </p:cNvSpPr>
          <p:nvPr/>
        </p:nvSpPr>
        <p:spPr bwMode="gray">
          <a:xfrm>
            <a:off x="9360827" y="227014"/>
            <a:ext cx="128984" cy="249237"/>
          </a:xfrm>
          <a:custGeom>
            <a:avLst/>
            <a:gdLst>
              <a:gd name="T0" fmla="*/ 26 w 168"/>
              <a:gd name="T1" fmla="*/ 336 h 352"/>
              <a:gd name="T2" fmla="*/ 40 w 168"/>
              <a:gd name="T3" fmla="*/ 316 h 352"/>
              <a:gd name="T4" fmla="*/ 46 w 168"/>
              <a:gd name="T5" fmla="*/ 306 h 352"/>
              <a:gd name="T6" fmla="*/ 56 w 168"/>
              <a:gd name="T7" fmla="*/ 258 h 352"/>
              <a:gd name="T8" fmla="*/ 66 w 168"/>
              <a:gd name="T9" fmla="*/ 244 h 352"/>
              <a:gd name="T10" fmla="*/ 86 w 168"/>
              <a:gd name="T11" fmla="*/ 178 h 352"/>
              <a:gd name="T12" fmla="*/ 98 w 168"/>
              <a:gd name="T13" fmla="*/ 148 h 352"/>
              <a:gd name="T14" fmla="*/ 90 w 168"/>
              <a:gd name="T15" fmla="*/ 138 h 352"/>
              <a:gd name="T16" fmla="*/ 84 w 168"/>
              <a:gd name="T17" fmla="*/ 130 h 352"/>
              <a:gd name="T18" fmla="*/ 70 w 168"/>
              <a:gd name="T19" fmla="*/ 142 h 352"/>
              <a:gd name="T20" fmla="*/ 54 w 168"/>
              <a:gd name="T21" fmla="*/ 154 h 352"/>
              <a:gd name="T22" fmla="*/ 46 w 168"/>
              <a:gd name="T23" fmla="*/ 150 h 352"/>
              <a:gd name="T24" fmla="*/ 30 w 168"/>
              <a:gd name="T25" fmla="*/ 128 h 352"/>
              <a:gd name="T26" fmla="*/ 16 w 168"/>
              <a:gd name="T27" fmla="*/ 116 h 352"/>
              <a:gd name="T28" fmla="*/ 4 w 168"/>
              <a:gd name="T29" fmla="*/ 112 h 352"/>
              <a:gd name="T30" fmla="*/ 0 w 168"/>
              <a:gd name="T31" fmla="*/ 94 h 352"/>
              <a:gd name="T32" fmla="*/ 12 w 168"/>
              <a:gd name="T33" fmla="*/ 92 h 352"/>
              <a:gd name="T34" fmla="*/ 38 w 168"/>
              <a:gd name="T35" fmla="*/ 116 h 352"/>
              <a:gd name="T36" fmla="*/ 50 w 168"/>
              <a:gd name="T37" fmla="*/ 128 h 352"/>
              <a:gd name="T38" fmla="*/ 66 w 168"/>
              <a:gd name="T39" fmla="*/ 120 h 352"/>
              <a:gd name="T40" fmla="*/ 78 w 168"/>
              <a:gd name="T41" fmla="*/ 104 h 352"/>
              <a:gd name="T42" fmla="*/ 96 w 168"/>
              <a:gd name="T43" fmla="*/ 94 h 352"/>
              <a:gd name="T44" fmla="*/ 88 w 168"/>
              <a:gd name="T45" fmla="*/ 68 h 352"/>
              <a:gd name="T46" fmla="*/ 84 w 168"/>
              <a:gd name="T47" fmla="*/ 46 h 352"/>
              <a:gd name="T48" fmla="*/ 92 w 168"/>
              <a:gd name="T49" fmla="*/ 36 h 352"/>
              <a:gd name="T50" fmla="*/ 104 w 168"/>
              <a:gd name="T51" fmla="*/ 38 h 352"/>
              <a:gd name="T52" fmla="*/ 112 w 168"/>
              <a:gd name="T53" fmla="*/ 36 h 352"/>
              <a:gd name="T54" fmla="*/ 120 w 168"/>
              <a:gd name="T55" fmla="*/ 46 h 352"/>
              <a:gd name="T56" fmla="*/ 114 w 168"/>
              <a:gd name="T57" fmla="*/ 76 h 352"/>
              <a:gd name="T58" fmla="*/ 112 w 168"/>
              <a:gd name="T59" fmla="*/ 78 h 352"/>
              <a:gd name="T60" fmla="*/ 114 w 168"/>
              <a:gd name="T61" fmla="*/ 86 h 352"/>
              <a:gd name="T62" fmla="*/ 124 w 168"/>
              <a:gd name="T63" fmla="*/ 82 h 352"/>
              <a:gd name="T64" fmla="*/ 154 w 168"/>
              <a:gd name="T65" fmla="*/ 64 h 352"/>
              <a:gd name="T66" fmla="*/ 154 w 168"/>
              <a:gd name="T67" fmla="*/ 50 h 352"/>
              <a:gd name="T68" fmla="*/ 154 w 168"/>
              <a:gd name="T69" fmla="*/ 34 h 352"/>
              <a:gd name="T70" fmla="*/ 142 w 168"/>
              <a:gd name="T71" fmla="*/ 14 h 352"/>
              <a:gd name="T72" fmla="*/ 148 w 168"/>
              <a:gd name="T73" fmla="*/ 0 h 352"/>
              <a:gd name="T74" fmla="*/ 160 w 168"/>
              <a:gd name="T75" fmla="*/ 14 h 352"/>
              <a:gd name="T76" fmla="*/ 166 w 168"/>
              <a:gd name="T77" fmla="*/ 30 h 352"/>
              <a:gd name="T78" fmla="*/ 168 w 168"/>
              <a:gd name="T79" fmla="*/ 74 h 352"/>
              <a:gd name="T80" fmla="*/ 136 w 168"/>
              <a:gd name="T81" fmla="*/ 106 h 352"/>
              <a:gd name="T82" fmla="*/ 130 w 168"/>
              <a:gd name="T83" fmla="*/ 142 h 352"/>
              <a:gd name="T84" fmla="*/ 138 w 168"/>
              <a:gd name="T85" fmla="*/ 168 h 352"/>
              <a:gd name="T86" fmla="*/ 136 w 168"/>
              <a:gd name="T87" fmla="*/ 192 h 352"/>
              <a:gd name="T88" fmla="*/ 120 w 168"/>
              <a:gd name="T89" fmla="*/ 210 h 352"/>
              <a:gd name="T90" fmla="*/ 110 w 168"/>
              <a:gd name="T91" fmla="*/ 228 h 352"/>
              <a:gd name="T92" fmla="*/ 116 w 168"/>
              <a:gd name="T93" fmla="*/ 262 h 352"/>
              <a:gd name="T94" fmla="*/ 118 w 168"/>
              <a:gd name="T95" fmla="*/ 284 h 352"/>
              <a:gd name="T96" fmla="*/ 122 w 168"/>
              <a:gd name="T97" fmla="*/ 296 h 352"/>
              <a:gd name="T98" fmla="*/ 112 w 168"/>
              <a:gd name="T99" fmla="*/ 312 h 352"/>
              <a:gd name="T100" fmla="*/ 106 w 168"/>
              <a:gd name="T101" fmla="*/ 324 h 352"/>
              <a:gd name="T102" fmla="*/ 90 w 168"/>
              <a:gd name="T103" fmla="*/ 328 h 352"/>
              <a:gd name="T104" fmla="*/ 90 w 168"/>
              <a:gd name="T105" fmla="*/ 320 h 352"/>
              <a:gd name="T106" fmla="*/ 96 w 168"/>
              <a:gd name="T107" fmla="*/ 310 h 352"/>
              <a:gd name="T108" fmla="*/ 104 w 168"/>
              <a:gd name="T109" fmla="*/ 288 h 352"/>
              <a:gd name="T110" fmla="*/ 90 w 168"/>
              <a:gd name="T111" fmla="*/ 250 h 352"/>
              <a:gd name="T112" fmla="*/ 88 w 168"/>
              <a:gd name="T113" fmla="*/ 236 h 352"/>
              <a:gd name="T114" fmla="*/ 88 w 168"/>
              <a:gd name="T115" fmla="*/ 260 h 352"/>
              <a:gd name="T116" fmla="*/ 68 w 168"/>
              <a:gd name="T117" fmla="*/ 286 h 352"/>
              <a:gd name="T118" fmla="*/ 58 w 168"/>
              <a:gd name="T119" fmla="*/ 318 h 352"/>
              <a:gd name="T120" fmla="*/ 42 w 168"/>
              <a:gd name="T121" fmla="*/ 344 h 352"/>
              <a:gd name="T122" fmla="*/ 36 w 168"/>
              <a:gd name="T123" fmla="*/ 352 h 352"/>
              <a:gd name="T124" fmla="*/ 28 w 168"/>
              <a:gd name="T125" fmla="*/ 346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8" h="352">
                <a:moveTo>
                  <a:pt x="26" y="342"/>
                </a:moveTo>
                <a:lnTo>
                  <a:pt x="26" y="342"/>
                </a:lnTo>
                <a:lnTo>
                  <a:pt x="26" y="336"/>
                </a:lnTo>
                <a:lnTo>
                  <a:pt x="26" y="332"/>
                </a:lnTo>
                <a:lnTo>
                  <a:pt x="32" y="324"/>
                </a:lnTo>
                <a:lnTo>
                  <a:pt x="40" y="316"/>
                </a:lnTo>
                <a:lnTo>
                  <a:pt x="44" y="312"/>
                </a:lnTo>
                <a:lnTo>
                  <a:pt x="46" y="306"/>
                </a:lnTo>
                <a:lnTo>
                  <a:pt x="46" y="306"/>
                </a:lnTo>
                <a:lnTo>
                  <a:pt x="48" y="290"/>
                </a:lnTo>
                <a:lnTo>
                  <a:pt x="52" y="274"/>
                </a:lnTo>
                <a:lnTo>
                  <a:pt x="56" y="258"/>
                </a:lnTo>
                <a:lnTo>
                  <a:pt x="60" y="250"/>
                </a:lnTo>
                <a:lnTo>
                  <a:pt x="66" y="244"/>
                </a:lnTo>
                <a:lnTo>
                  <a:pt x="66" y="244"/>
                </a:lnTo>
                <a:lnTo>
                  <a:pt x="68" y="220"/>
                </a:lnTo>
                <a:lnTo>
                  <a:pt x="76" y="198"/>
                </a:lnTo>
                <a:lnTo>
                  <a:pt x="86" y="178"/>
                </a:lnTo>
                <a:lnTo>
                  <a:pt x="102" y="158"/>
                </a:lnTo>
                <a:lnTo>
                  <a:pt x="102" y="158"/>
                </a:lnTo>
                <a:lnTo>
                  <a:pt x="98" y="148"/>
                </a:lnTo>
                <a:lnTo>
                  <a:pt x="94" y="138"/>
                </a:lnTo>
                <a:lnTo>
                  <a:pt x="94" y="138"/>
                </a:lnTo>
                <a:lnTo>
                  <a:pt x="90" y="138"/>
                </a:lnTo>
                <a:lnTo>
                  <a:pt x="88" y="134"/>
                </a:lnTo>
                <a:lnTo>
                  <a:pt x="88" y="134"/>
                </a:lnTo>
                <a:lnTo>
                  <a:pt x="84" y="130"/>
                </a:lnTo>
                <a:lnTo>
                  <a:pt x="84" y="126"/>
                </a:lnTo>
                <a:lnTo>
                  <a:pt x="84" y="126"/>
                </a:lnTo>
                <a:lnTo>
                  <a:pt x="70" y="142"/>
                </a:lnTo>
                <a:lnTo>
                  <a:pt x="62" y="148"/>
                </a:lnTo>
                <a:lnTo>
                  <a:pt x="54" y="154"/>
                </a:lnTo>
                <a:lnTo>
                  <a:pt x="54" y="154"/>
                </a:lnTo>
                <a:lnTo>
                  <a:pt x="52" y="154"/>
                </a:lnTo>
                <a:lnTo>
                  <a:pt x="46" y="150"/>
                </a:lnTo>
                <a:lnTo>
                  <a:pt x="46" y="150"/>
                </a:lnTo>
                <a:lnTo>
                  <a:pt x="42" y="146"/>
                </a:lnTo>
                <a:lnTo>
                  <a:pt x="38" y="140"/>
                </a:lnTo>
                <a:lnTo>
                  <a:pt x="30" y="128"/>
                </a:lnTo>
                <a:lnTo>
                  <a:pt x="26" y="124"/>
                </a:lnTo>
                <a:lnTo>
                  <a:pt x="22" y="120"/>
                </a:lnTo>
                <a:lnTo>
                  <a:pt x="16" y="116"/>
                </a:lnTo>
                <a:lnTo>
                  <a:pt x="10" y="116"/>
                </a:lnTo>
                <a:lnTo>
                  <a:pt x="10" y="116"/>
                </a:lnTo>
                <a:lnTo>
                  <a:pt x="4" y="112"/>
                </a:lnTo>
                <a:lnTo>
                  <a:pt x="2" y="106"/>
                </a:lnTo>
                <a:lnTo>
                  <a:pt x="0" y="94"/>
                </a:lnTo>
                <a:lnTo>
                  <a:pt x="0" y="94"/>
                </a:lnTo>
                <a:lnTo>
                  <a:pt x="6" y="92"/>
                </a:lnTo>
                <a:lnTo>
                  <a:pt x="12" y="92"/>
                </a:lnTo>
                <a:lnTo>
                  <a:pt x="12" y="92"/>
                </a:lnTo>
                <a:lnTo>
                  <a:pt x="22" y="100"/>
                </a:lnTo>
                <a:lnTo>
                  <a:pt x="30" y="108"/>
                </a:lnTo>
                <a:lnTo>
                  <a:pt x="38" y="116"/>
                </a:lnTo>
                <a:lnTo>
                  <a:pt x="46" y="124"/>
                </a:lnTo>
                <a:lnTo>
                  <a:pt x="46" y="124"/>
                </a:lnTo>
                <a:lnTo>
                  <a:pt x="50" y="128"/>
                </a:lnTo>
                <a:lnTo>
                  <a:pt x="56" y="132"/>
                </a:lnTo>
                <a:lnTo>
                  <a:pt x="56" y="132"/>
                </a:lnTo>
                <a:lnTo>
                  <a:pt x="66" y="120"/>
                </a:lnTo>
                <a:lnTo>
                  <a:pt x="76" y="108"/>
                </a:lnTo>
                <a:lnTo>
                  <a:pt x="76" y="108"/>
                </a:lnTo>
                <a:lnTo>
                  <a:pt x="78" y="104"/>
                </a:lnTo>
                <a:lnTo>
                  <a:pt x="82" y="102"/>
                </a:lnTo>
                <a:lnTo>
                  <a:pt x="92" y="100"/>
                </a:lnTo>
                <a:lnTo>
                  <a:pt x="96" y="94"/>
                </a:lnTo>
                <a:lnTo>
                  <a:pt x="94" y="78"/>
                </a:lnTo>
                <a:lnTo>
                  <a:pt x="94" y="78"/>
                </a:lnTo>
                <a:lnTo>
                  <a:pt x="88" y="68"/>
                </a:lnTo>
                <a:lnTo>
                  <a:pt x="82" y="58"/>
                </a:lnTo>
                <a:lnTo>
                  <a:pt x="82" y="58"/>
                </a:lnTo>
                <a:lnTo>
                  <a:pt x="84" y="46"/>
                </a:lnTo>
                <a:lnTo>
                  <a:pt x="88" y="40"/>
                </a:lnTo>
                <a:lnTo>
                  <a:pt x="92" y="36"/>
                </a:lnTo>
                <a:lnTo>
                  <a:pt x="92" y="36"/>
                </a:lnTo>
                <a:lnTo>
                  <a:pt x="96" y="36"/>
                </a:lnTo>
                <a:lnTo>
                  <a:pt x="100" y="36"/>
                </a:lnTo>
                <a:lnTo>
                  <a:pt x="104" y="38"/>
                </a:lnTo>
                <a:lnTo>
                  <a:pt x="108" y="36"/>
                </a:lnTo>
                <a:lnTo>
                  <a:pt x="108" y="36"/>
                </a:lnTo>
                <a:lnTo>
                  <a:pt x="112" y="36"/>
                </a:lnTo>
                <a:lnTo>
                  <a:pt x="116" y="38"/>
                </a:lnTo>
                <a:lnTo>
                  <a:pt x="116" y="38"/>
                </a:lnTo>
                <a:lnTo>
                  <a:pt x="120" y="46"/>
                </a:lnTo>
                <a:lnTo>
                  <a:pt x="124" y="56"/>
                </a:lnTo>
                <a:lnTo>
                  <a:pt x="124" y="56"/>
                </a:lnTo>
                <a:lnTo>
                  <a:pt x="114" y="76"/>
                </a:lnTo>
                <a:lnTo>
                  <a:pt x="114" y="76"/>
                </a:lnTo>
                <a:lnTo>
                  <a:pt x="112" y="78"/>
                </a:lnTo>
                <a:lnTo>
                  <a:pt x="112" y="78"/>
                </a:lnTo>
                <a:lnTo>
                  <a:pt x="112" y="82"/>
                </a:lnTo>
                <a:lnTo>
                  <a:pt x="114" y="86"/>
                </a:lnTo>
                <a:lnTo>
                  <a:pt x="114" y="86"/>
                </a:lnTo>
                <a:lnTo>
                  <a:pt x="122" y="86"/>
                </a:lnTo>
                <a:lnTo>
                  <a:pt x="122" y="86"/>
                </a:lnTo>
                <a:lnTo>
                  <a:pt x="124" y="82"/>
                </a:lnTo>
                <a:lnTo>
                  <a:pt x="130" y="78"/>
                </a:lnTo>
                <a:lnTo>
                  <a:pt x="140" y="74"/>
                </a:lnTo>
                <a:lnTo>
                  <a:pt x="154" y="64"/>
                </a:lnTo>
                <a:lnTo>
                  <a:pt x="154" y="64"/>
                </a:lnTo>
                <a:lnTo>
                  <a:pt x="154" y="56"/>
                </a:lnTo>
                <a:lnTo>
                  <a:pt x="154" y="50"/>
                </a:lnTo>
                <a:lnTo>
                  <a:pt x="156" y="42"/>
                </a:lnTo>
                <a:lnTo>
                  <a:pt x="154" y="34"/>
                </a:lnTo>
                <a:lnTo>
                  <a:pt x="154" y="34"/>
                </a:lnTo>
                <a:lnTo>
                  <a:pt x="150" y="30"/>
                </a:lnTo>
                <a:lnTo>
                  <a:pt x="146" y="24"/>
                </a:lnTo>
                <a:lnTo>
                  <a:pt x="142" y="14"/>
                </a:lnTo>
                <a:lnTo>
                  <a:pt x="142" y="14"/>
                </a:lnTo>
                <a:lnTo>
                  <a:pt x="144" y="6"/>
                </a:lnTo>
                <a:lnTo>
                  <a:pt x="148" y="0"/>
                </a:lnTo>
                <a:lnTo>
                  <a:pt x="150" y="0"/>
                </a:lnTo>
                <a:lnTo>
                  <a:pt x="150" y="0"/>
                </a:lnTo>
                <a:lnTo>
                  <a:pt x="160" y="14"/>
                </a:lnTo>
                <a:lnTo>
                  <a:pt x="164" y="22"/>
                </a:lnTo>
                <a:lnTo>
                  <a:pt x="166" y="30"/>
                </a:lnTo>
                <a:lnTo>
                  <a:pt x="166" y="30"/>
                </a:lnTo>
                <a:lnTo>
                  <a:pt x="168" y="52"/>
                </a:lnTo>
                <a:lnTo>
                  <a:pt x="168" y="74"/>
                </a:lnTo>
                <a:lnTo>
                  <a:pt x="168" y="74"/>
                </a:lnTo>
                <a:lnTo>
                  <a:pt x="156" y="84"/>
                </a:lnTo>
                <a:lnTo>
                  <a:pt x="142" y="92"/>
                </a:lnTo>
                <a:lnTo>
                  <a:pt x="136" y="106"/>
                </a:lnTo>
                <a:lnTo>
                  <a:pt x="136" y="106"/>
                </a:lnTo>
                <a:lnTo>
                  <a:pt x="134" y="124"/>
                </a:lnTo>
                <a:lnTo>
                  <a:pt x="130" y="142"/>
                </a:lnTo>
                <a:lnTo>
                  <a:pt x="130" y="142"/>
                </a:lnTo>
                <a:lnTo>
                  <a:pt x="134" y="154"/>
                </a:lnTo>
                <a:lnTo>
                  <a:pt x="138" y="168"/>
                </a:lnTo>
                <a:lnTo>
                  <a:pt x="138" y="180"/>
                </a:lnTo>
                <a:lnTo>
                  <a:pt x="136" y="192"/>
                </a:lnTo>
                <a:lnTo>
                  <a:pt x="136" y="192"/>
                </a:lnTo>
                <a:lnTo>
                  <a:pt x="134" y="198"/>
                </a:lnTo>
                <a:lnTo>
                  <a:pt x="128" y="202"/>
                </a:lnTo>
                <a:lnTo>
                  <a:pt x="120" y="210"/>
                </a:lnTo>
                <a:lnTo>
                  <a:pt x="104" y="222"/>
                </a:lnTo>
                <a:lnTo>
                  <a:pt x="104" y="222"/>
                </a:lnTo>
                <a:lnTo>
                  <a:pt x="110" y="228"/>
                </a:lnTo>
                <a:lnTo>
                  <a:pt x="112" y="234"/>
                </a:lnTo>
                <a:lnTo>
                  <a:pt x="116" y="248"/>
                </a:lnTo>
                <a:lnTo>
                  <a:pt x="116" y="262"/>
                </a:lnTo>
                <a:lnTo>
                  <a:pt x="116" y="280"/>
                </a:lnTo>
                <a:lnTo>
                  <a:pt x="116" y="280"/>
                </a:lnTo>
                <a:lnTo>
                  <a:pt x="118" y="284"/>
                </a:lnTo>
                <a:lnTo>
                  <a:pt x="120" y="288"/>
                </a:lnTo>
                <a:lnTo>
                  <a:pt x="122" y="292"/>
                </a:lnTo>
                <a:lnTo>
                  <a:pt x="122" y="296"/>
                </a:lnTo>
                <a:lnTo>
                  <a:pt x="122" y="296"/>
                </a:lnTo>
                <a:lnTo>
                  <a:pt x="114" y="306"/>
                </a:lnTo>
                <a:lnTo>
                  <a:pt x="112" y="312"/>
                </a:lnTo>
                <a:lnTo>
                  <a:pt x="110" y="318"/>
                </a:lnTo>
                <a:lnTo>
                  <a:pt x="110" y="318"/>
                </a:lnTo>
                <a:lnTo>
                  <a:pt x="106" y="324"/>
                </a:lnTo>
                <a:lnTo>
                  <a:pt x="100" y="326"/>
                </a:lnTo>
                <a:lnTo>
                  <a:pt x="90" y="328"/>
                </a:lnTo>
                <a:lnTo>
                  <a:pt x="90" y="328"/>
                </a:lnTo>
                <a:lnTo>
                  <a:pt x="88" y="326"/>
                </a:lnTo>
                <a:lnTo>
                  <a:pt x="88" y="326"/>
                </a:lnTo>
                <a:lnTo>
                  <a:pt x="90" y="320"/>
                </a:lnTo>
                <a:lnTo>
                  <a:pt x="94" y="316"/>
                </a:lnTo>
                <a:lnTo>
                  <a:pt x="94" y="316"/>
                </a:lnTo>
                <a:lnTo>
                  <a:pt x="96" y="310"/>
                </a:lnTo>
                <a:lnTo>
                  <a:pt x="98" y="302"/>
                </a:lnTo>
                <a:lnTo>
                  <a:pt x="100" y="296"/>
                </a:lnTo>
                <a:lnTo>
                  <a:pt x="104" y="288"/>
                </a:lnTo>
                <a:lnTo>
                  <a:pt x="104" y="288"/>
                </a:lnTo>
                <a:lnTo>
                  <a:pt x="94" y="264"/>
                </a:lnTo>
                <a:lnTo>
                  <a:pt x="90" y="250"/>
                </a:lnTo>
                <a:lnTo>
                  <a:pt x="88" y="236"/>
                </a:lnTo>
                <a:lnTo>
                  <a:pt x="88" y="236"/>
                </a:lnTo>
                <a:lnTo>
                  <a:pt x="88" y="236"/>
                </a:lnTo>
                <a:lnTo>
                  <a:pt x="86" y="242"/>
                </a:lnTo>
                <a:lnTo>
                  <a:pt x="86" y="248"/>
                </a:lnTo>
                <a:lnTo>
                  <a:pt x="88" y="260"/>
                </a:lnTo>
                <a:lnTo>
                  <a:pt x="88" y="260"/>
                </a:lnTo>
                <a:lnTo>
                  <a:pt x="78" y="272"/>
                </a:lnTo>
                <a:lnTo>
                  <a:pt x="68" y="286"/>
                </a:lnTo>
                <a:lnTo>
                  <a:pt x="60" y="302"/>
                </a:lnTo>
                <a:lnTo>
                  <a:pt x="58" y="310"/>
                </a:lnTo>
                <a:lnTo>
                  <a:pt x="58" y="318"/>
                </a:lnTo>
                <a:lnTo>
                  <a:pt x="58" y="318"/>
                </a:lnTo>
                <a:lnTo>
                  <a:pt x="48" y="336"/>
                </a:lnTo>
                <a:lnTo>
                  <a:pt x="42" y="344"/>
                </a:lnTo>
                <a:lnTo>
                  <a:pt x="38" y="352"/>
                </a:lnTo>
                <a:lnTo>
                  <a:pt x="38" y="352"/>
                </a:lnTo>
                <a:lnTo>
                  <a:pt x="36" y="352"/>
                </a:lnTo>
                <a:lnTo>
                  <a:pt x="32" y="350"/>
                </a:lnTo>
                <a:lnTo>
                  <a:pt x="32" y="350"/>
                </a:lnTo>
                <a:lnTo>
                  <a:pt x="28" y="346"/>
                </a:lnTo>
                <a:lnTo>
                  <a:pt x="26" y="342"/>
                </a:lnTo>
                <a:lnTo>
                  <a:pt x="26" y="34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09" name="Freeform 385"/>
          <p:cNvSpPr>
            <a:spLocks/>
          </p:cNvSpPr>
          <p:nvPr/>
        </p:nvSpPr>
        <p:spPr bwMode="gray">
          <a:xfrm>
            <a:off x="9494970" y="404813"/>
            <a:ext cx="39555" cy="57150"/>
          </a:xfrm>
          <a:custGeom>
            <a:avLst/>
            <a:gdLst>
              <a:gd name="T0" fmla="*/ 10 w 52"/>
              <a:gd name="T1" fmla="*/ 10 h 80"/>
              <a:gd name="T2" fmla="*/ 10 w 52"/>
              <a:gd name="T3" fmla="*/ 10 h 80"/>
              <a:gd name="T4" fmla="*/ 34 w 52"/>
              <a:gd name="T5" fmla="*/ 34 h 80"/>
              <a:gd name="T6" fmla="*/ 46 w 52"/>
              <a:gd name="T7" fmla="*/ 44 h 80"/>
              <a:gd name="T8" fmla="*/ 50 w 52"/>
              <a:gd name="T9" fmla="*/ 52 h 80"/>
              <a:gd name="T10" fmla="*/ 50 w 52"/>
              <a:gd name="T11" fmla="*/ 52 h 80"/>
              <a:gd name="T12" fmla="*/ 52 w 52"/>
              <a:gd name="T13" fmla="*/ 60 h 80"/>
              <a:gd name="T14" fmla="*/ 52 w 52"/>
              <a:gd name="T15" fmla="*/ 70 h 80"/>
              <a:gd name="T16" fmla="*/ 52 w 52"/>
              <a:gd name="T17" fmla="*/ 70 h 80"/>
              <a:gd name="T18" fmla="*/ 40 w 52"/>
              <a:gd name="T19" fmla="*/ 80 h 80"/>
              <a:gd name="T20" fmla="*/ 40 w 52"/>
              <a:gd name="T21" fmla="*/ 80 h 80"/>
              <a:gd name="T22" fmla="*/ 40 w 52"/>
              <a:gd name="T23" fmla="*/ 66 h 80"/>
              <a:gd name="T24" fmla="*/ 40 w 52"/>
              <a:gd name="T25" fmla="*/ 60 h 80"/>
              <a:gd name="T26" fmla="*/ 36 w 52"/>
              <a:gd name="T27" fmla="*/ 54 h 80"/>
              <a:gd name="T28" fmla="*/ 36 w 52"/>
              <a:gd name="T29" fmla="*/ 54 h 80"/>
              <a:gd name="T30" fmla="*/ 4 w 52"/>
              <a:gd name="T31" fmla="*/ 22 h 80"/>
              <a:gd name="T32" fmla="*/ 4 w 52"/>
              <a:gd name="T33" fmla="*/ 22 h 80"/>
              <a:gd name="T34" fmla="*/ 0 w 52"/>
              <a:gd name="T35" fmla="*/ 16 h 80"/>
              <a:gd name="T36" fmla="*/ 0 w 52"/>
              <a:gd name="T37" fmla="*/ 12 h 80"/>
              <a:gd name="T38" fmla="*/ 0 w 52"/>
              <a:gd name="T39" fmla="*/ 8 h 80"/>
              <a:gd name="T40" fmla="*/ 0 w 52"/>
              <a:gd name="T41" fmla="*/ 8 h 80"/>
              <a:gd name="T42" fmla="*/ 6 w 52"/>
              <a:gd name="T43" fmla="*/ 0 h 80"/>
              <a:gd name="T44" fmla="*/ 6 w 52"/>
              <a:gd name="T45" fmla="*/ 0 h 80"/>
              <a:gd name="T46" fmla="*/ 6 w 52"/>
              <a:gd name="T47" fmla="*/ 6 h 80"/>
              <a:gd name="T48" fmla="*/ 10 w 52"/>
              <a:gd name="T49" fmla="*/ 10 h 80"/>
              <a:gd name="T50" fmla="*/ 10 w 52"/>
              <a:gd name="T51" fmla="*/ 1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2" h="80">
                <a:moveTo>
                  <a:pt x="10" y="10"/>
                </a:moveTo>
                <a:lnTo>
                  <a:pt x="10" y="10"/>
                </a:lnTo>
                <a:lnTo>
                  <a:pt x="34" y="34"/>
                </a:lnTo>
                <a:lnTo>
                  <a:pt x="46" y="44"/>
                </a:lnTo>
                <a:lnTo>
                  <a:pt x="50" y="52"/>
                </a:lnTo>
                <a:lnTo>
                  <a:pt x="50" y="52"/>
                </a:lnTo>
                <a:lnTo>
                  <a:pt x="52" y="60"/>
                </a:lnTo>
                <a:lnTo>
                  <a:pt x="52" y="70"/>
                </a:lnTo>
                <a:lnTo>
                  <a:pt x="52" y="70"/>
                </a:lnTo>
                <a:lnTo>
                  <a:pt x="40" y="80"/>
                </a:lnTo>
                <a:lnTo>
                  <a:pt x="40" y="80"/>
                </a:lnTo>
                <a:lnTo>
                  <a:pt x="40" y="66"/>
                </a:lnTo>
                <a:lnTo>
                  <a:pt x="40" y="60"/>
                </a:lnTo>
                <a:lnTo>
                  <a:pt x="36" y="54"/>
                </a:lnTo>
                <a:lnTo>
                  <a:pt x="36" y="54"/>
                </a:lnTo>
                <a:lnTo>
                  <a:pt x="4" y="22"/>
                </a:lnTo>
                <a:lnTo>
                  <a:pt x="4" y="22"/>
                </a:lnTo>
                <a:lnTo>
                  <a:pt x="0" y="16"/>
                </a:lnTo>
                <a:lnTo>
                  <a:pt x="0" y="12"/>
                </a:lnTo>
                <a:lnTo>
                  <a:pt x="0" y="8"/>
                </a:lnTo>
                <a:lnTo>
                  <a:pt x="0" y="8"/>
                </a:lnTo>
                <a:lnTo>
                  <a:pt x="6" y="0"/>
                </a:lnTo>
                <a:lnTo>
                  <a:pt x="6" y="0"/>
                </a:lnTo>
                <a:lnTo>
                  <a:pt x="6" y="6"/>
                </a:lnTo>
                <a:lnTo>
                  <a:pt x="10" y="10"/>
                </a:lnTo>
                <a:lnTo>
                  <a:pt x="10" y="1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10" name="Freeform 386"/>
          <p:cNvSpPr>
            <a:spLocks/>
          </p:cNvSpPr>
          <p:nvPr/>
        </p:nvSpPr>
        <p:spPr bwMode="gray">
          <a:xfrm>
            <a:off x="9494971" y="433389"/>
            <a:ext cx="24077" cy="28575"/>
          </a:xfrm>
          <a:custGeom>
            <a:avLst/>
            <a:gdLst>
              <a:gd name="T0" fmla="*/ 32 w 32"/>
              <a:gd name="T1" fmla="*/ 34 h 40"/>
              <a:gd name="T2" fmla="*/ 32 w 32"/>
              <a:gd name="T3" fmla="*/ 34 h 40"/>
              <a:gd name="T4" fmla="*/ 26 w 32"/>
              <a:gd name="T5" fmla="*/ 40 h 40"/>
              <a:gd name="T6" fmla="*/ 20 w 32"/>
              <a:gd name="T7" fmla="*/ 32 h 40"/>
              <a:gd name="T8" fmla="*/ 20 w 32"/>
              <a:gd name="T9" fmla="*/ 12 h 40"/>
              <a:gd name="T10" fmla="*/ 20 w 32"/>
              <a:gd name="T11" fmla="*/ 12 h 40"/>
              <a:gd name="T12" fmla="*/ 20 w 32"/>
              <a:gd name="T13" fmla="*/ 12 h 40"/>
              <a:gd name="T14" fmla="*/ 16 w 32"/>
              <a:gd name="T15" fmla="*/ 16 h 40"/>
              <a:gd name="T16" fmla="*/ 14 w 32"/>
              <a:gd name="T17" fmla="*/ 24 h 40"/>
              <a:gd name="T18" fmla="*/ 14 w 32"/>
              <a:gd name="T19" fmla="*/ 40 h 40"/>
              <a:gd name="T20" fmla="*/ 14 w 32"/>
              <a:gd name="T21" fmla="*/ 40 h 40"/>
              <a:gd name="T22" fmla="*/ 0 w 32"/>
              <a:gd name="T23" fmla="*/ 28 h 40"/>
              <a:gd name="T24" fmla="*/ 0 w 32"/>
              <a:gd name="T25" fmla="*/ 28 h 40"/>
              <a:gd name="T26" fmla="*/ 0 w 32"/>
              <a:gd name="T27" fmla="*/ 20 h 40"/>
              <a:gd name="T28" fmla="*/ 2 w 32"/>
              <a:gd name="T29" fmla="*/ 12 h 40"/>
              <a:gd name="T30" fmla="*/ 10 w 32"/>
              <a:gd name="T31" fmla="*/ 0 h 40"/>
              <a:gd name="T32" fmla="*/ 32 w 32"/>
              <a:gd name="T33" fmla="*/ 20 h 40"/>
              <a:gd name="T34" fmla="*/ 32 w 32"/>
              <a:gd name="T35" fmla="*/ 34 h 40"/>
              <a:gd name="T36" fmla="*/ 32 w 32"/>
              <a:gd name="T37" fmla="*/ 34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2" h="40">
                <a:moveTo>
                  <a:pt x="32" y="34"/>
                </a:moveTo>
                <a:lnTo>
                  <a:pt x="32" y="34"/>
                </a:lnTo>
                <a:lnTo>
                  <a:pt x="26" y="40"/>
                </a:lnTo>
                <a:lnTo>
                  <a:pt x="20" y="32"/>
                </a:lnTo>
                <a:lnTo>
                  <a:pt x="20" y="12"/>
                </a:lnTo>
                <a:lnTo>
                  <a:pt x="20" y="12"/>
                </a:lnTo>
                <a:lnTo>
                  <a:pt x="20" y="12"/>
                </a:lnTo>
                <a:lnTo>
                  <a:pt x="16" y="16"/>
                </a:lnTo>
                <a:lnTo>
                  <a:pt x="14" y="24"/>
                </a:lnTo>
                <a:lnTo>
                  <a:pt x="14" y="40"/>
                </a:lnTo>
                <a:lnTo>
                  <a:pt x="14" y="40"/>
                </a:lnTo>
                <a:lnTo>
                  <a:pt x="0" y="28"/>
                </a:lnTo>
                <a:lnTo>
                  <a:pt x="0" y="28"/>
                </a:lnTo>
                <a:lnTo>
                  <a:pt x="0" y="20"/>
                </a:lnTo>
                <a:lnTo>
                  <a:pt x="2" y="12"/>
                </a:lnTo>
                <a:lnTo>
                  <a:pt x="10" y="0"/>
                </a:lnTo>
                <a:lnTo>
                  <a:pt x="32" y="20"/>
                </a:lnTo>
                <a:lnTo>
                  <a:pt x="32" y="34"/>
                </a:lnTo>
                <a:lnTo>
                  <a:pt x="32" y="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11" name="Freeform 387"/>
          <p:cNvSpPr>
            <a:spLocks/>
          </p:cNvSpPr>
          <p:nvPr/>
        </p:nvSpPr>
        <p:spPr bwMode="gray">
          <a:xfrm>
            <a:off x="9455415" y="496889"/>
            <a:ext cx="37835" cy="15875"/>
          </a:xfrm>
          <a:custGeom>
            <a:avLst/>
            <a:gdLst>
              <a:gd name="T0" fmla="*/ 48 w 50"/>
              <a:gd name="T1" fmla="*/ 8 h 22"/>
              <a:gd name="T2" fmla="*/ 48 w 50"/>
              <a:gd name="T3" fmla="*/ 8 h 22"/>
              <a:gd name="T4" fmla="*/ 50 w 50"/>
              <a:gd name="T5" fmla="*/ 4 h 22"/>
              <a:gd name="T6" fmla="*/ 50 w 50"/>
              <a:gd name="T7" fmla="*/ 0 h 22"/>
              <a:gd name="T8" fmla="*/ 50 w 50"/>
              <a:gd name="T9" fmla="*/ 0 h 22"/>
              <a:gd name="T10" fmla="*/ 0 w 50"/>
              <a:gd name="T11" fmla="*/ 0 h 22"/>
              <a:gd name="T12" fmla="*/ 0 w 50"/>
              <a:gd name="T13" fmla="*/ 0 h 22"/>
              <a:gd name="T14" fmla="*/ 2 w 50"/>
              <a:gd name="T15" fmla="*/ 4 h 22"/>
              <a:gd name="T16" fmla="*/ 4 w 50"/>
              <a:gd name="T17" fmla="*/ 10 h 22"/>
              <a:gd name="T18" fmla="*/ 10 w 50"/>
              <a:gd name="T19" fmla="*/ 18 h 22"/>
              <a:gd name="T20" fmla="*/ 10 w 50"/>
              <a:gd name="T21" fmla="*/ 18 h 22"/>
              <a:gd name="T22" fmla="*/ 16 w 50"/>
              <a:gd name="T23" fmla="*/ 20 h 22"/>
              <a:gd name="T24" fmla="*/ 24 w 50"/>
              <a:gd name="T25" fmla="*/ 22 h 22"/>
              <a:gd name="T26" fmla="*/ 30 w 50"/>
              <a:gd name="T27" fmla="*/ 22 h 22"/>
              <a:gd name="T28" fmla="*/ 36 w 50"/>
              <a:gd name="T29" fmla="*/ 20 h 22"/>
              <a:gd name="T30" fmla="*/ 36 w 50"/>
              <a:gd name="T31" fmla="*/ 20 h 22"/>
              <a:gd name="T32" fmla="*/ 42 w 50"/>
              <a:gd name="T33" fmla="*/ 14 h 22"/>
              <a:gd name="T34" fmla="*/ 48 w 50"/>
              <a:gd name="T35" fmla="*/ 8 h 22"/>
              <a:gd name="T36" fmla="*/ 48 w 50"/>
              <a:gd name="T37" fmla="*/ 8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0" h="22">
                <a:moveTo>
                  <a:pt x="48" y="8"/>
                </a:moveTo>
                <a:lnTo>
                  <a:pt x="48" y="8"/>
                </a:lnTo>
                <a:lnTo>
                  <a:pt x="50" y="4"/>
                </a:lnTo>
                <a:lnTo>
                  <a:pt x="50" y="0"/>
                </a:lnTo>
                <a:lnTo>
                  <a:pt x="50" y="0"/>
                </a:lnTo>
                <a:lnTo>
                  <a:pt x="0" y="0"/>
                </a:lnTo>
                <a:lnTo>
                  <a:pt x="0" y="0"/>
                </a:lnTo>
                <a:lnTo>
                  <a:pt x="2" y="4"/>
                </a:lnTo>
                <a:lnTo>
                  <a:pt x="4" y="10"/>
                </a:lnTo>
                <a:lnTo>
                  <a:pt x="10" y="18"/>
                </a:lnTo>
                <a:lnTo>
                  <a:pt x="10" y="18"/>
                </a:lnTo>
                <a:lnTo>
                  <a:pt x="16" y="20"/>
                </a:lnTo>
                <a:lnTo>
                  <a:pt x="24" y="22"/>
                </a:lnTo>
                <a:lnTo>
                  <a:pt x="30" y="22"/>
                </a:lnTo>
                <a:lnTo>
                  <a:pt x="36" y="20"/>
                </a:lnTo>
                <a:lnTo>
                  <a:pt x="36" y="20"/>
                </a:lnTo>
                <a:lnTo>
                  <a:pt x="42" y="14"/>
                </a:lnTo>
                <a:lnTo>
                  <a:pt x="48" y="8"/>
                </a:lnTo>
                <a:lnTo>
                  <a:pt x="48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12" name="Freeform 388"/>
          <p:cNvSpPr>
            <a:spLocks/>
          </p:cNvSpPr>
          <p:nvPr/>
        </p:nvSpPr>
        <p:spPr bwMode="gray">
          <a:xfrm>
            <a:off x="9448535" y="542926"/>
            <a:ext cx="29237" cy="36513"/>
          </a:xfrm>
          <a:custGeom>
            <a:avLst/>
            <a:gdLst>
              <a:gd name="T0" fmla="*/ 0 w 38"/>
              <a:gd name="T1" fmla="*/ 52 h 52"/>
              <a:gd name="T2" fmla="*/ 0 w 38"/>
              <a:gd name="T3" fmla="*/ 52 h 52"/>
              <a:gd name="T4" fmla="*/ 0 w 38"/>
              <a:gd name="T5" fmla="*/ 48 h 52"/>
              <a:gd name="T6" fmla="*/ 2 w 38"/>
              <a:gd name="T7" fmla="*/ 44 h 52"/>
              <a:gd name="T8" fmla="*/ 8 w 38"/>
              <a:gd name="T9" fmla="*/ 36 h 52"/>
              <a:gd name="T10" fmla="*/ 22 w 38"/>
              <a:gd name="T11" fmla="*/ 22 h 52"/>
              <a:gd name="T12" fmla="*/ 22 w 38"/>
              <a:gd name="T13" fmla="*/ 22 h 52"/>
              <a:gd name="T14" fmla="*/ 24 w 38"/>
              <a:gd name="T15" fmla="*/ 18 h 52"/>
              <a:gd name="T16" fmla="*/ 24 w 38"/>
              <a:gd name="T17" fmla="*/ 12 h 52"/>
              <a:gd name="T18" fmla="*/ 24 w 38"/>
              <a:gd name="T19" fmla="*/ 12 h 52"/>
              <a:gd name="T20" fmla="*/ 22 w 38"/>
              <a:gd name="T21" fmla="*/ 10 h 52"/>
              <a:gd name="T22" fmla="*/ 20 w 38"/>
              <a:gd name="T23" fmla="*/ 8 h 52"/>
              <a:gd name="T24" fmla="*/ 20 w 38"/>
              <a:gd name="T25" fmla="*/ 8 h 52"/>
              <a:gd name="T26" fmla="*/ 16 w 38"/>
              <a:gd name="T27" fmla="*/ 8 h 52"/>
              <a:gd name="T28" fmla="*/ 12 w 38"/>
              <a:gd name="T29" fmla="*/ 10 h 52"/>
              <a:gd name="T30" fmla="*/ 12 w 38"/>
              <a:gd name="T31" fmla="*/ 10 h 52"/>
              <a:gd name="T32" fmla="*/ 10 w 38"/>
              <a:gd name="T33" fmla="*/ 14 h 52"/>
              <a:gd name="T34" fmla="*/ 8 w 38"/>
              <a:gd name="T35" fmla="*/ 20 h 52"/>
              <a:gd name="T36" fmla="*/ 0 w 38"/>
              <a:gd name="T37" fmla="*/ 20 h 52"/>
              <a:gd name="T38" fmla="*/ 0 w 38"/>
              <a:gd name="T39" fmla="*/ 20 h 52"/>
              <a:gd name="T40" fmla="*/ 0 w 38"/>
              <a:gd name="T41" fmla="*/ 12 h 52"/>
              <a:gd name="T42" fmla="*/ 2 w 38"/>
              <a:gd name="T43" fmla="*/ 6 h 52"/>
              <a:gd name="T44" fmla="*/ 2 w 38"/>
              <a:gd name="T45" fmla="*/ 6 h 52"/>
              <a:gd name="T46" fmla="*/ 6 w 38"/>
              <a:gd name="T47" fmla="*/ 2 h 52"/>
              <a:gd name="T48" fmla="*/ 10 w 38"/>
              <a:gd name="T49" fmla="*/ 0 h 52"/>
              <a:gd name="T50" fmla="*/ 20 w 38"/>
              <a:gd name="T51" fmla="*/ 0 h 52"/>
              <a:gd name="T52" fmla="*/ 20 w 38"/>
              <a:gd name="T53" fmla="*/ 0 h 52"/>
              <a:gd name="T54" fmla="*/ 28 w 38"/>
              <a:gd name="T55" fmla="*/ 4 h 52"/>
              <a:gd name="T56" fmla="*/ 32 w 38"/>
              <a:gd name="T57" fmla="*/ 6 h 52"/>
              <a:gd name="T58" fmla="*/ 34 w 38"/>
              <a:gd name="T59" fmla="*/ 10 h 52"/>
              <a:gd name="T60" fmla="*/ 34 w 38"/>
              <a:gd name="T61" fmla="*/ 10 h 52"/>
              <a:gd name="T62" fmla="*/ 34 w 38"/>
              <a:gd name="T63" fmla="*/ 14 h 52"/>
              <a:gd name="T64" fmla="*/ 34 w 38"/>
              <a:gd name="T65" fmla="*/ 18 h 52"/>
              <a:gd name="T66" fmla="*/ 34 w 38"/>
              <a:gd name="T67" fmla="*/ 24 h 52"/>
              <a:gd name="T68" fmla="*/ 30 w 38"/>
              <a:gd name="T69" fmla="*/ 28 h 52"/>
              <a:gd name="T70" fmla="*/ 30 w 38"/>
              <a:gd name="T71" fmla="*/ 28 h 52"/>
              <a:gd name="T72" fmla="*/ 22 w 38"/>
              <a:gd name="T73" fmla="*/ 36 h 52"/>
              <a:gd name="T74" fmla="*/ 14 w 38"/>
              <a:gd name="T75" fmla="*/ 44 h 52"/>
              <a:gd name="T76" fmla="*/ 38 w 38"/>
              <a:gd name="T77" fmla="*/ 42 h 52"/>
              <a:gd name="T78" fmla="*/ 38 w 38"/>
              <a:gd name="T79" fmla="*/ 42 h 52"/>
              <a:gd name="T80" fmla="*/ 38 w 38"/>
              <a:gd name="T81" fmla="*/ 50 h 52"/>
              <a:gd name="T82" fmla="*/ 0 w 38"/>
              <a:gd name="T83" fmla="*/ 52 h 52"/>
              <a:gd name="T84" fmla="*/ 0 w 38"/>
              <a:gd name="T85" fmla="*/ 5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8" h="52">
                <a:moveTo>
                  <a:pt x="0" y="52"/>
                </a:moveTo>
                <a:lnTo>
                  <a:pt x="0" y="52"/>
                </a:lnTo>
                <a:lnTo>
                  <a:pt x="0" y="48"/>
                </a:lnTo>
                <a:lnTo>
                  <a:pt x="2" y="44"/>
                </a:lnTo>
                <a:lnTo>
                  <a:pt x="8" y="36"/>
                </a:lnTo>
                <a:lnTo>
                  <a:pt x="22" y="22"/>
                </a:lnTo>
                <a:lnTo>
                  <a:pt x="22" y="22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2" y="10"/>
                </a:lnTo>
                <a:lnTo>
                  <a:pt x="20" y="8"/>
                </a:lnTo>
                <a:lnTo>
                  <a:pt x="20" y="8"/>
                </a:lnTo>
                <a:lnTo>
                  <a:pt x="16" y="8"/>
                </a:lnTo>
                <a:lnTo>
                  <a:pt x="12" y="10"/>
                </a:lnTo>
                <a:lnTo>
                  <a:pt x="12" y="10"/>
                </a:lnTo>
                <a:lnTo>
                  <a:pt x="10" y="14"/>
                </a:lnTo>
                <a:lnTo>
                  <a:pt x="8" y="20"/>
                </a:lnTo>
                <a:lnTo>
                  <a:pt x="0" y="20"/>
                </a:lnTo>
                <a:lnTo>
                  <a:pt x="0" y="20"/>
                </a:lnTo>
                <a:lnTo>
                  <a:pt x="0" y="12"/>
                </a:lnTo>
                <a:lnTo>
                  <a:pt x="2" y="6"/>
                </a:lnTo>
                <a:lnTo>
                  <a:pt x="2" y="6"/>
                </a:lnTo>
                <a:lnTo>
                  <a:pt x="6" y="2"/>
                </a:lnTo>
                <a:lnTo>
                  <a:pt x="10" y="0"/>
                </a:lnTo>
                <a:lnTo>
                  <a:pt x="20" y="0"/>
                </a:lnTo>
                <a:lnTo>
                  <a:pt x="20" y="0"/>
                </a:lnTo>
                <a:lnTo>
                  <a:pt x="28" y="4"/>
                </a:lnTo>
                <a:lnTo>
                  <a:pt x="32" y="6"/>
                </a:lnTo>
                <a:lnTo>
                  <a:pt x="34" y="10"/>
                </a:lnTo>
                <a:lnTo>
                  <a:pt x="34" y="10"/>
                </a:lnTo>
                <a:lnTo>
                  <a:pt x="34" y="14"/>
                </a:lnTo>
                <a:lnTo>
                  <a:pt x="34" y="18"/>
                </a:lnTo>
                <a:lnTo>
                  <a:pt x="34" y="24"/>
                </a:lnTo>
                <a:lnTo>
                  <a:pt x="30" y="28"/>
                </a:lnTo>
                <a:lnTo>
                  <a:pt x="30" y="28"/>
                </a:lnTo>
                <a:lnTo>
                  <a:pt x="22" y="36"/>
                </a:lnTo>
                <a:lnTo>
                  <a:pt x="14" y="44"/>
                </a:lnTo>
                <a:lnTo>
                  <a:pt x="38" y="42"/>
                </a:lnTo>
                <a:lnTo>
                  <a:pt x="38" y="42"/>
                </a:lnTo>
                <a:lnTo>
                  <a:pt x="38" y="50"/>
                </a:lnTo>
                <a:lnTo>
                  <a:pt x="0" y="52"/>
                </a:lnTo>
                <a:lnTo>
                  <a:pt x="0" y="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13" name="Freeform 389"/>
          <p:cNvSpPr>
            <a:spLocks/>
          </p:cNvSpPr>
          <p:nvPr/>
        </p:nvSpPr>
        <p:spPr bwMode="gray">
          <a:xfrm>
            <a:off x="9362546" y="534988"/>
            <a:ext cx="20638" cy="38100"/>
          </a:xfrm>
          <a:custGeom>
            <a:avLst/>
            <a:gdLst>
              <a:gd name="T0" fmla="*/ 28 w 28"/>
              <a:gd name="T1" fmla="*/ 4 h 52"/>
              <a:gd name="T2" fmla="*/ 28 w 28"/>
              <a:gd name="T3" fmla="*/ 4 h 52"/>
              <a:gd name="T4" fmla="*/ 12 w 28"/>
              <a:gd name="T5" fmla="*/ 52 h 52"/>
              <a:gd name="T6" fmla="*/ 2 w 28"/>
              <a:gd name="T7" fmla="*/ 48 h 52"/>
              <a:gd name="T8" fmla="*/ 14 w 28"/>
              <a:gd name="T9" fmla="*/ 16 h 52"/>
              <a:gd name="T10" fmla="*/ 14 w 28"/>
              <a:gd name="T11" fmla="*/ 14 h 52"/>
              <a:gd name="T12" fmla="*/ 14 w 28"/>
              <a:gd name="T13" fmla="*/ 14 h 52"/>
              <a:gd name="T14" fmla="*/ 0 w 28"/>
              <a:gd name="T15" fmla="*/ 10 h 52"/>
              <a:gd name="T16" fmla="*/ 2 w 28"/>
              <a:gd name="T17" fmla="*/ 4 h 52"/>
              <a:gd name="T18" fmla="*/ 2 w 28"/>
              <a:gd name="T19" fmla="*/ 4 h 52"/>
              <a:gd name="T20" fmla="*/ 10 w 28"/>
              <a:gd name="T21" fmla="*/ 6 h 52"/>
              <a:gd name="T22" fmla="*/ 14 w 28"/>
              <a:gd name="T23" fmla="*/ 6 h 52"/>
              <a:gd name="T24" fmla="*/ 18 w 28"/>
              <a:gd name="T25" fmla="*/ 4 h 52"/>
              <a:gd name="T26" fmla="*/ 18 w 28"/>
              <a:gd name="T27" fmla="*/ 4 h 52"/>
              <a:gd name="T28" fmla="*/ 20 w 28"/>
              <a:gd name="T29" fmla="*/ 0 h 52"/>
              <a:gd name="T30" fmla="*/ 28 w 28"/>
              <a:gd name="T31" fmla="*/ 4 h 52"/>
              <a:gd name="T32" fmla="*/ 28 w 28"/>
              <a:gd name="T33" fmla="*/ 4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8" h="52">
                <a:moveTo>
                  <a:pt x="28" y="4"/>
                </a:moveTo>
                <a:lnTo>
                  <a:pt x="28" y="4"/>
                </a:lnTo>
                <a:lnTo>
                  <a:pt x="12" y="52"/>
                </a:lnTo>
                <a:lnTo>
                  <a:pt x="2" y="48"/>
                </a:lnTo>
                <a:lnTo>
                  <a:pt x="14" y="16"/>
                </a:lnTo>
                <a:lnTo>
                  <a:pt x="14" y="14"/>
                </a:lnTo>
                <a:lnTo>
                  <a:pt x="14" y="14"/>
                </a:lnTo>
                <a:lnTo>
                  <a:pt x="0" y="10"/>
                </a:lnTo>
                <a:lnTo>
                  <a:pt x="2" y="4"/>
                </a:lnTo>
                <a:lnTo>
                  <a:pt x="2" y="4"/>
                </a:lnTo>
                <a:lnTo>
                  <a:pt x="10" y="6"/>
                </a:lnTo>
                <a:lnTo>
                  <a:pt x="14" y="6"/>
                </a:lnTo>
                <a:lnTo>
                  <a:pt x="18" y="4"/>
                </a:lnTo>
                <a:lnTo>
                  <a:pt x="18" y="4"/>
                </a:lnTo>
                <a:lnTo>
                  <a:pt x="20" y="0"/>
                </a:lnTo>
                <a:lnTo>
                  <a:pt x="28" y="4"/>
                </a:lnTo>
                <a:lnTo>
                  <a:pt x="28" y="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14" name="Freeform 390"/>
          <p:cNvSpPr>
            <a:spLocks noEditPoints="1"/>
          </p:cNvSpPr>
          <p:nvPr/>
        </p:nvSpPr>
        <p:spPr bwMode="gray">
          <a:xfrm>
            <a:off x="9494970" y="534988"/>
            <a:ext cx="34396" cy="36512"/>
          </a:xfrm>
          <a:custGeom>
            <a:avLst/>
            <a:gdLst>
              <a:gd name="T0" fmla="*/ 44 w 44"/>
              <a:gd name="T1" fmla="*/ 32 h 52"/>
              <a:gd name="T2" fmla="*/ 36 w 44"/>
              <a:gd name="T3" fmla="*/ 22 h 52"/>
              <a:gd name="T4" fmla="*/ 32 w 44"/>
              <a:gd name="T5" fmla="*/ 22 h 52"/>
              <a:gd name="T6" fmla="*/ 38 w 44"/>
              <a:gd name="T7" fmla="*/ 14 h 52"/>
              <a:gd name="T8" fmla="*/ 36 w 44"/>
              <a:gd name="T9" fmla="*/ 10 h 52"/>
              <a:gd name="T10" fmla="*/ 28 w 44"/>
              <a:gd name="T11" fmla="*/ 0 h 52"/>
              <a:gd name="T12" fmla="*/ 22 w 44"/>
              <a:gd name="T13" fmla="*/ 0 h 52"/>
              <a:gd name="T14" fmla="*/ 16 w 44"/>
              <a:gd name="T15" fmla="*/ 0 h 52"/>
              <a:gd name="T16" fmla="*/ 4 w 44"/>
              <a:gd name="T17" fmla="*/ 6 h 52"/>
              <a:gd name="T18" fmla="*/ 0 w 44"/>
              <a:gd name="T19" fmla="*/ 12 h 52"/>
              <a:gd name="T20" fmla="*/ 0 w 44"/>
              <a:gd name="T21" fmla="*/ 18 h 52"/>
              <a:gd name="T22" fmla="*/ 4 w 44"/>
              <a:gd name="T23" fmla="*/ 24 h 52"/>
              <a:gd name="T24" fmla="*/ 8 w 44"/>
              <a:gd name="T25" fmla="*/ 28 h 52"/>
              <a:gd name="T26" fmla="*/ 4 w 44"/>
              <a:gd name="T27" fmla="*/ 34 h 52"/>
              <a:gd name="T28" fmla="*/ 4 w 44"/>
              <a:gd name="T29" fmla="*/ 42 h 52"/>
              <a:gd name="T30" fmla="*/ 16 w 44"/>
              <a:gd name="T31" fmla="*/ 52 h 52"/>
              <a:gd name="T32" fmla="*/ 22 w 44"/>
              <a:gd name="T33" fmla="*/ 52 h 52"/>
              <a:gd name="T34" fmla="*/ 28 w 44"/>
              <a:gd name="T35" fmla="*/ 52 h 52"/>
              <a:gd name="T36" fmla="*/ 40 w 44"/>
              <a:gd name="T37" fmla="*/ 46 h 52"/>
              <a:gd name="T38" fmla="*/ 44 w 44"/>
              <a:gd name="T39" fmla="*/ 40 h 52"/>
              <a:gd name="T40" fmla="*/ 44 w 44"/>
              <a:gd name="T41" fmla="*/ 32 h 52"/>
              <a:gd name="T42" fmla="*/ 12 w 44"/>
              <a:gd name="T43" fmla="*/ 18 h 52"/>
              <a:gd name="T44" fmla="*/ 12 w 44"/>
              <a:gd name="T45" fmla="*/ 10 h 52"/>
              <a:gd name="T46" fmla="*/ 18 w 44"/>
              <a:gd name="T47" fmla="*/ 8 h 52"/>
              <a:gd name="T48" fmla="*/ 22 w 44"/>
              <a:gd name="T49" fmla="*/ 8 h 52"/>
              <a:gd name="T50" fmla="*/ 26 w 44"/>
              <a:gd name="T51" fmla="*/ 10 h 52"/>
              <a:gd name="T52" fmla="*/ 28 w 44"/>
              <a:gd name="T53" fmla="*/ 14 h 52"/>
              <a:gd name="T54" fmla="*/ 26 w 44"/>
              <a:gd name="T55" fmla="*/ 18 h 52"/>
              <a:gd name="T56" fmla="*/ 20 w 44"/>
              <a:gd name="T57" fmla="*/ 20 h 52"/>
              <a:gd name="T58" fmla="*/ 16 w 44"/>
              <a:gd name="T59" fmla="*/ 22 h 52"/>
              <a:gd name="T60" fmla="*/ 12 w 44"/>
              <a:gd name="T61" fmla="*/ 18 h 52"/>
              <a:gd name="T62" fmla="*/ 32 w 44"/>
              <a:gd name="T63" fmla="*/ 40 h 52"/>
              <a:gd name="T64" fmla="*/ 26 w 44"/>
              <a:gd name="T65" fmla="*/ 44 h 52"/>
              <a:gd name="T66" fmla="*/ 20 w 44"/>
              <a:gd name="T67" fmla="*/ 44 h 52"/>
              <a:gd name="T68" fmla="*/ 14 w 44"/>
              <a:gd name="T69" fmla="*/ 40 h 52"/>
              <a:gd name="T70" fmla="*/ 14 w 44"/>
              <a:gd name="T71" fmla="*/ 34 h 52"/>
              <a:gd name="T72" fmla="*/ 18 w 44"/>
              <a:gd name="T73" fmla="*/ 30 h 52"/>
              <a:gd name="T74" fmla="*/ 22 w 44"/>
              <a:gd name="T75" fmla="*/ 28 h 52"/>
              <a:gd name="T76" fmla="*/ 28 w 44"/>
              <a:gd name="T77" fmla="*/ 28 h 52"/>
              <a:gd name="T78" fmla="*/ 32 w 44"/>
              <a:gd name="T79" fmla="*/ 30 h 52"/>
              <a:gd name="T80" fmla="*/ 34 w 44"/>
              <a:gd name="T81" fmla="*/ 34 h 52"/>
              <a:gd name="T82" fmla="*/ 32 w 44"/>
              <a:gd name="T83" fmla="*/ 4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4" h="52">
                <a:moveTo>
                  <a:pt x="44" y="32"/>
                </a:moveTo>
                <a:lnTo>
                  <a:pt x="44" y="32"/>
                </a:lnTo>
                <a:lnTo>
                  <a:pt x="42" y="26"/>
                </a:lnTo>
                <a:lnTo>
                  <a:pt x="36" y="22"/>
                </a:lnTo>
                <a:lnTo>
                  <a:pt x="32" y="22"/>
                </a:lnTo>
                <a:lnTo>
                  <a:pt x="32" y="22"/>
                </a:lnTo>
                <a:lnTo>
                  <a:pt x="36" y="16"/>
                </a:lnTo>
                <a:lnTo>
                  <a:pt x="38" y="14"/>
                </a:lnTo>
                <a:lnTo>
                  <a:pt x="36" y="10"/>
                </a:lnTo>
                <a:lnTo>
                  <a:pt x="36" y="10"/>
                </a:lnTo>
                <a:lnTo>
                  <a:pt x="34" y="4"/>
                </a:lnTo>
                <a:lnTo>
                  <a:pt x="28" y="0"/>
                </a:lnTo>
                <a:lnTo>
                  <a:pt x="28" y="0"/>
                </a:lnTo>
                <a:lnTo>
                  <a:pt x="22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4" y="6"/>
                </a:lnTo>
                <a:lnTo>
                  <a:pt x="4" y="6"/>
                </a:lnTo>
                <a:lnTo>
                  <a:pt x="0" y="12"/>
                </a:lnTo>
                <a:lnTo>
                  <a:pt x="0" y="18"/>
                </a:lnTo>
                <a:lnTo>
                  <a:pt x="0" y="18"/>
                </a:lnTo>
                <a:lnTo>
                  <a:pt x="2" y="22"/>
                </a:lnTo>
                <a:lnTo>
                  <a:pt x="4" y="24"/>
                </a:lnTo>
                <a:lnTo>
                  <a:pt x="10" y="26"/>
                </a:lnTo>
                <a:lnTo>
                  <a:pt x="8" y="28"/>
                </a:lnTo>
                <a:lnTo>
                  <a:pt x="8" y="28"/>
                </a:lnTo>
                <a:lnTo>
                  <a:pt x="4" y="34"/>
                </a:lnTo>
                <a:lnTo>
                  <a:pt x="4" y="42"/>
                </a:lnTo>
                <a:lnTo>
                  <a:pt x="4" y="42"/>
                </a:lnTo>
                <a:lnTo>
                  <a:pt x="8" y="48"/>
                </a:lnTo>
                <a:lnTo>
                  <a:pt x="16" y="52"/>
                </a:lnTo>
                <a:lnTo>
                  <a:pt x="16" y="52"/>
                </a:lnTo>
                <a:lnTo>
                  <a:pt x="22" y="52"/>
                </a:lnTo>
                <a:lnTo>
                  <a:pt x="28" y="52"/>
                </a:lnTo>
                <a:lnTo>
                  <a:pt x="28" y="52"/>
                </a:lnTo>
                <a:lnTo>
                  <a:pt x="34" y="50"/>
                </a:lnTo>
                <a:lnTo>
                  <a:pt x="40" y="46"/>
                </a:lnTo>
                <a:lnTo>
                  <a:pt x="40" y="46"/>
                </a:lnTo>
                <a:lnTo>
                  <a:pt x="44" y="40"/>
                </a:lnTo>
                <a:lnTo>
                  <a:pt x="44" y="32"/>
                </a:lnTo>
                <a:lnTo>
                  <a:pt x="44" y="32"/>
                </a:lnTo>
                <a:close/>
                <a:moveTo>
                  <a:pt x="12" y="18"/>
                </a:moveTo>
                <a:lnTo>
                  <a:pt x="12" y="18"/>
                </a:lnTo>
                <a:lnTo>
                  <a:pt x="10" y="14"/>
                </a:lnTo>
                <a:lnTo>
                  <a:pt x="12" y="10"/>
                </a:lnTo>
                <a:lnTo>
                  <a:pt x="12" y="10"/>
                </a:lnTo>
                <a:lnTo>
                  <a:pt x="18" y="8"/>
                </a:lnTo>
                <a:lnTo>
                  <a:pt x="18" y="8"/>
                </a:lnTo>
                <a:lnTo>
                  <a:pt x="22" y="8"/>
                </a:lnTo>
                <a:lnTo>
                  <a:pt x="22" y="8"/>
                </a:lnTo>
                <a:lnTo>
                  <a:pt x="26" y="10"/>
                </a:lnTo>
                <a:lnTo>
                  <a:pt x="28" y="14"/>
                </a:lnTo>
                <a:lnTo>
                  <a:pt x="28" y="14"/>
                </a:lnTo>
                <a:lnTo>
                  <a:pt x="26" y="18"/>
                </a:lnTo>
                <a:lnTo>
                  <a:pt x="26" y="18"/>
                </a:lnTo>
                <a:lnTo>
                  <a:pt x="20" y="20"/>
                </a:lnTo>
                <a:lnTo>
                  <a:pt x="20" y="20"/>
                </a:lnTo>
                <a:lnTo>
                  <a:pt x="16" y="22"/>
                </a:lnTo>
                <a:lnTo>
                  <a:pt x="16" y="22"/>
                </a:lnTo>
                <a:lnTo>
                  <a:pt x="12" y="18"/>
                </a:lnTo>
                <a:lnTo>
                  <a:pt x="12" y="18"/>
                </a:lnTo>
                <a:close/>
                <a:moveTo>
                  <a:pt x="32" y="40"/>
                </a:moveTo>
                <a:lnTo>
                  <a:pt x="32" y="40"/>
                </a:lnTo>
                <a:lnTo>
                  <a:pt x="26" y="44"/>
                </a:lnTo>
                <a:lnTo>
                  <a:pt x="26" y="44"/>
                </a:lnTo>
                <a:lnTo>
                  <a:pt x="20" y="44"/>
                </a:lnTo>
                <a:lnTo>
                  <a:pt x="20" y="44"/>
                </a:lnTo>
                <a:lnTo>
                  <a:pt x="16" y="42"/>
                </a:lnTo>
                <a:lnTo>
                  <a:pt x="14" y="40"/>
                </a:lnTo>
                <a:lnTo>
                  <a:pt x="14" y="40"/>
                </a:lnTo>
                <a:lnTo>
                  <a:pt x="14" y="34"/>
                </a:lnTo>
                <a:lnTo>
                  <a:pt x="18" y="30"/>
                </a:lnTo>
                <a:lnTo>
                  <a:pt x="18" y="30"/>
                </a:lnTo>
                <a:lnTo>
                  <a:pt x="22" y="28"/>
                </a:lnTo>
                <a:lnTo>
                  <a:pt x="22" y="28"/>
                </a:lnTo>
                <a:lnTo>
                  <a:pt x="22" y="28"/>
                </a:lnTo>
                <a:lnTo>
                  <a:pt x="28" y="28"/>
                </a:lnTo>
                <a:lnTo>
                  <a:pt x="28" y="28"/>
                </a:lnTo>
                <a:lnTo>
                  <a:pt x="32" y="30"/>
                </a:lnTo>
                <a:lnTo>
                  <a:pt x="34" y="34"/>
                </a:lnTo>
                <a:lnTo>
                  <a:pt x="34" y="34"/>
                </a:lnTo>
                <a:lnTo>
                  <a:pt x="34" y="38"/>
                </a:lnTo>
                <a:lnTo>
                  <a:pt x="32" y="40"/>
                </a:lnTo>
                <a:lnTo>
                  <a:pt x="32" y="4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15" name="Freeform 391"/>
          <p:cNvSpPr>
            <a:spLocks noEditPoints="1"/>
          </p:cNvSpPr>
          <p:nvPr/>
        </p:nvSpPr>
        <p:spPr bwMode="gray">
          <a:xfrm>
            <a:off x="9398663" y="542926"/>
            <a:ext cx="30956" cy="36513"/>
          </a:xfrm>
          <a:custGeom>
            <a:avLst/>
            <a:gdLst>
              <a:gd name="T0" fmla="*/ 40 w 40"/>
              <a:gd name="T1" fmla="*/ 38 h 52"/>
              <a:gd name="T2" fmla="*/ 34 w 40"/>
              <a:gd name="T3" fmla="*/ 26 h 52"/>
              <a:gd name="T4" fmla="*/ 32 w 40"/>
              <a:gd name="T5" fmla="*/ 24 h 52"/>
              <a:gd name="T6" fmla="*/ 38 w 40"/>
              <a:gd name="T7" fmla="*/ 18 h 52"/>
              <a:gd name="T8" fmla="*/ 40 w 40"/>
              <a:gd name="T9" fmla="*/ 14 h 52"/>
              <a:gd name="T10" fmla="*/ 34 w 40"/>
              <a:gd name="T11" fmla="*/ 2 h 52"/>
              <a:gd name="T12" fmla="*/ 28 w 40"/>
              <a:gd name="T13" fmla="*/ 0 h 52"/>
              <a:gd name="T14" fmla="*/ 22 w 40"/>
              <a:gd name="T15" fmla="*/ 0 h 52"/>
              <a:gd name="T16" fmla="*/ 10 w 40"/>
              <a:gd name="T17" fmla="*/ 2 h 52"/>
              <a:gd name="T18" fmla="*/ 4 w 40"/>
              <a:gd name="T19" fmla="*/ 6 h 52"/>
              <a:gd name="T20" fmla="*/ 2 w 40"/>
              <a:gd name="T21" fmla="*/ 12 h 52"/>
              <a:gd name="T22" fmla="*/ 4 w 40"/>
              <a:gd name="T23" fmla="*/ 18 h 52"/>
              <a:gd name="T24" fmla="*/ 6 w 40"/>
              <a:gd name="T25" fmla="*/ 24 h 52"/>
              <a:gd name="T26" fmla="*/ 0 w 40"/>
              <a:gd name="T27" fmla="*/ 28 h 52"/>
              <a:gd name="T28" fmla="*/ 0 w 40"/>
              <a:gd name="T29" fmla="*/ 34 h 52"/>
              <a:gd name="T30" fmla="*/ 6 w 40"/>
              <a:gd name="T31" fmla="*/ 48 h 52"/>
              <a:gd name="T32" fmla="*/ 12 w 40"/>
              <a:gd name="T33" fmla="*/ 52 h 52"/>
              <a:gd name="T34" fmla="*/ 18 w 40"/>
              <a:gd name="T35" fmla="*/ 52 h 52"/>
              <a:gd name="T36" fmla="*/ 32 w 40"/>
              <a:gd name="T37" fmla="*/ 50 h 52"/>
              <a:gd name="T38" fmla="*/ 38 w 40"/>
              <a:gd name="T39" fmla="*/ 44 h 52"/>
              <a:gd name="T40" fmla="*/ 40 w 40"/>
              <a:gd name="T41" fmla="*/ 38 h 52"/>
              <a:gd name="T42" fmla="*/ 12 w 40"/>
              <a:gd name="T43" fmla="*/ 14 h 52"/>
              <a:gd name="T44" fmla="*/ 16 w 40"/>
              <a:gd name="T45" fmla="*/ 8 h 52"/>
              <a:gd name="T46" fmla="*/ 22 w 40"/>
              <a:gd name="T47" fmla="*/ 6 h 52"/>
              <a:gd name="T48" fmla="*/ 26 w 40"/>
              <a:gd name="T49" fmla="*/ 8 h 52"/>
              <a:gd name="T50" fmla="*/ 28 w 40"/>
              <a:gd name="T51" fmla="*/ 12 h 52"/>
              <a:gd name="T52" fmla="*/ 28 w 40"/>
              <a:gd name="T53" fmla="*/ 16 h 52"/>
              <a:gd name="T54" fmla="*/ 26 w 40"/>
              <a:gd name="T55" fmla="*/ 20 h 52"/>
              <a:gd name="T56" fmla="*/ 20 w 40"/>
              <a:gd name="T57" fmla="*/ 20 h 52"/>
              <a:gd name="T58" fmla="*/ 16 w 40"/>
              <a:gd name="T59" fmla="*/ 18 h 52"/>
              <a:gd name="T60" fmla="*/ 12 w 40"/>
              <a:gd name="T61" fmla="*/ 14 h 52"/>
              <a:gd name="T62" fmla="*/ 26 w 40"/>
              <a:gd name="T63" fmla="*/ 42 h 52"/>
              <a:gd name="T64" fmla="*/ 18 w 40"/>
              <a:gd name="T65" fmla="*/ 44 h 52"/>
              <a:gd name="T66" fmla="*/ 12 w 40"/>
              <a:gd name="T67" fmla="*/ 42 h 52"/>
              <a:gd name="T68" fmla="*/ 10 w 40"/>
              <a:gd name="T69" fmla="*/ 36 h 52"/>
              <a:gd name="T70" fmla="*/ 10 w 40"/>
              <a:gd name="T71" fmla="*/ 32 h 52"/>
              <a:gd name="T72" fmla="*/ 14 w 40"/>
              <a:gd name="T73" fmla="*/ 28 h 52"/>
              <a:gd name="T74" fmla="*/ 20 w 40"/>
              <a:gd name="T75" fmla="*/ 28 h 52"/>
              <a:gd name="T76" fmla="*/ 26 w 40"/>
              <a:gd name="T77" fmla="*/ 28 h 52"/>
              <a:gd name="T78" fmla="*/ 28 w 40"/>
              <a:gd name="T79" fmla="*/ 32 h 52"/>
              <a:gd name="T80" fmla="*/ 30 w 40"/>
              <a:gd name="T81" fmla="*/ 38 h 52"/>
              <a:gd name="T82" fmla="*/ 26 w 40"/>
              <a:gd name="T83" fmla="*/ 4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0" h="52">
                <a:moveTo>
                  <a:pt x="40" y="38"/>
                </a:moveTo>
                <a:lnTo>
                  <a:pt x="40" y="38"/>
                </a:lnTo>
                <a:lnTo>
                  <a:pt x="38" y="30"/>
                </a:lnTo>
                <a:lnTo>
                  <a:pt x="34" y="26"/>
                </a:lnTo>
                <a:lnTo>
                  <a:pt x="32" y="24"/>
                </a:lnTo>
                <a:lnTo>
                  <a:pt x="32" y="24"/>
                </a:lnTo>
                <a:lnTo>
                  <a:pt x="36" y="20"/>
                </a:lnTo>
                <a:lnTo>
                  <a:pt x="38" y="18"/>
                </a:lnTo>
                <a:lnTo>
                  <a:pt x="40" y="14"/>
                </a:lnTo>
                <a:lnTo>
                  <a:pt x="40" y="14"/>
                </a:lnTo>
                <a:lnTo>
                  <a:pt x="38" y="8"/>
                </a:lnTo>
                <a:lnTo>
                  <a:pt x="34" y="2"/>
                </a:lnTo>
                <a:lnTo>
                  <a:pt x="34" y="2"/>
                </a:lnTo>
                <a:lnTo>
                  <a:pt x="28" y="0"/>
                </a:lnTo>
                <a:lnTo>
                  <a:pt x="22" y="0"/>
                </a:lnTo>
                <a:lnTo>
                  <a:pt x="22" y="0"/>
                </a:lnTo>
                <a:lnTo>
                  <a:pt x="16" y="0"/>
                </a:lnTo>
                <a:lnTo>
                  <a:pt x="10" y="2"/>
                </a:lnTo>
                <a:lnTo>
                  <a:pt x="10" y="2"/>
                </a:lnTo>
                <a:lnTo>
                  <a:pt x="4" y="6"/>
                </a:lnTo>
                <a:lnTo>
                  <a:pt x="2" y="12"/>
                </a:lnTo>
                <a:lnTo>
                  <a:pt x="2" y="12"/>
                </a:lnTo>
                <a:lnTo>
                  <a:pt x="2" y="16"/>
                </a:lnTo>
                <a:lnTo>
                  <a:pt x="4" y="18"/>
                </a:lnTo>
                <a:lnTo>
                  <a:pt x="10" y="22"/>
                </a:lnTo>
                <a:lnTo>
                  <a:pt x="6" y="24"/>
                </a:lnTo>
                <a:lnTo>
                  <a:pt x="6" y="24"/>
                </a:lnTo>
                <a:lnTo>
                  <a:pt x="0" y="28"/>
                </a:lnTo>
                <a:lnTo>
                  <a:pt x="0" y="34"/>
                </a:lnTo>
                <a:lnTo>
                  <a:pt x="0" y="34"/>
                </a:lnTo>
                <a:lnTo>
                  <a:pt x="0" y="42"/>
                </a:lnTo>
                <a:lnTo>
                  <a:pt x="6" y="48"/>
                </a:lnTo>
                <a:lnTo>
                  <a:pt x="6" y="48"/>
                </a:lnTo>
                <a:lnTo>
                  <a:pt x="12" y="52"/>
                </a:lnTo>
                <a:lnTo>
                  <a:pt x="18" y="52"/>
                </a:lnTo>
                <a:lnTo>
                  <a:pt x="18" y="52"/>
                </a:lnTo>
                <a:lnTo>
                  <a:pt x="26" y="52"/>
                </a:lnTo>
                <a:lnTo>
                  <a:pt x="32" y="50"/>
                </a:lnTo>
                <a:lnTo>
                  <a:pt x="32" y="50"/>
                </a:lnTo>
                <a:lnTo>
                  <a:pt x="38" y="44"/>
                </a:lnTo>
                <a:lnTo>
                  <a:pt x="40" y="38"/>
                </a:lnTo>
                <a:lnTo>
                  <a:pt x="40" y="38"/>
                </a:lnTo>
                <a:close/>
                <a:moveTo>
                  <a:pt x="12" y="14"/>
                </a:moveTo>
                <a:lnTo>
                  <a:pt x="12" y="14"/>
                </a:lnTo>
                <a:lnTo>
                  <a:pt x="12" y="10"/>
                </a:lnTo>
                <a:lnTo>
                  <a:pt x="16" y="8"/>
                </a:lnTo>
                <a:lnTo>
                  <a:pt x="16" y="8"/>
                </a:lnTo>
                <a:lnTo>
                  <a:pt x="22" y="6"/>
                </a:lnTo>
                <a:lnTo>
                  <a:pt x="22" y="6"/>
                </a:lnTo>
                <a:lnTo>
                  <a:pt x="26" y="8"/>
                </a:lnTo>
                <a:lnTo>
                  <a:pt x="26" y="8"/>
                </a:lnTo>
                <a:lnTo>
                  <a:pt x="28" y="12"/>
                </a:lnTo>
                <a:lnTo>
                  <a:pt x="28" y="16"/>
                </a:lnTo>
                <a:lnTo>
                  <a:pt x="28" y="16"/>
                </a:lnTo>
                <a:lnTo>
                  <a:pt x="26" y="20"/>
                </a:lnTo>
                <a:lnTo>
                  <a:pt x="26" y="20"/>
                </a:lnTo>
                <a:lnTo>
                  <a:pt x="20" y="20"/>
                </a:lnTo>
                <a:lnTo>
                  <a:pt x="20" y="20"/>
                </a:lnTo>
                <a:lnTo>
                  <a:pt x="16" y="18"/>
                </a:lnTo>
                <a:lnTo>
                  <a:pt x="16" y="18"/>
                </a:lnTo>
                <a:lnTo>
                  <a:pt x="12" y="14"/>
                </a:lnTo>
                <a:lnTo>
                  <a:pt x="12" y="14"/>
                </a:lnTo>
                <a:close/>
                <a:moveTo>
                  <a:pt x="26" y="42"/>
                </a:moveTo>
                <a:lnTo>
                  <a:pt x="26" y="42"/>
                </a:lnTo>
                <a:lnTo>
                  <a:pt x="18" y="44"/>
                </a:lnTo>
                <a:lnTo>
                  <a:pt x="18" y="44"/>
                </a:lnTo>
                <a:lnTo>
                  <a:pt x="12" y="42"/>
                </a:lnTo>
                <a:lnTo>
                  <a:pt x="12" y="42"/>
                </a:lnTo>
                <a:lnTo>
                  <a:pt x="10" y="40"/>
                </a:lnTo>
                <a:lnTo>
                  <a:pt x="10" y="36"/>
                </a:lnTo>
                <a:lnTo>
                  <a:pt x="10" y="36"/>
                </a:lnTo>
                <a:lnTo>
                  <a:pt x="10" y="32"/>
                </a:lnTo>
                <a:lnTo>
                  <a:pt x="14" y="28"/>
                </a:lnTo>
                <a:lnTo>
                  <a:pt x="14" y="28"/>
                </a:lnTo>
                <a:lnTo>
                  <a:pt x="20" y="28"/>
                </a:lnTo>
                <a:lnTo>
                  <a:pt x="20" y="28"/>
                </a:lnTo>
                <a:lnTo>
                  <a:pt x="20" y="28"/>
                </a:lnTo>
                <a:lnTo>
                  <a:pt x="26" y="28"/>
                </a:lnTo>
                <a:lnTo>
                  <a:pt x="26" y="28"/>
                </a:lnTo>
                <a:lnTo>
                  <a:pt x="28" y="32"/>
                </a:lnTo>
                <a:lnTo>
                  <a:pt x="30" y="38"/>
                </a:lnTo>
                <a:lnTo>
                  <a:pt x="30" y="38"/>
                </a:lnTo>
                <a:lnTo>
                  <a:pt x="28" y="40"/>
                </a:lnTo>
                <a:lnTo>
                  <a:pt x="26" y="42"/>
                </a:lnTo>
                <a:lnTo>
                  <a:pt x="26" y="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16" name="Freeform 392"/>
          <p:cNvSpPr>
            <a:spLocks/>
          </p:cNvSpPr>
          <p:nvPr/>
        </p:nvSpPr>
        <p:spPr bwMode="gray">
          <a:xfrm>
            <a:off x="9563762" y="220664"/>
            <a:ext cx="39555" cy="22225"/>
          </a:xfrm>
          <a:custGeom>
            <a:avLst/>
            <a:gdLst>
              <a:gd name="T0" fmla="*/ 52 w 52"/>
              <a:gd name="T1" fmla="*/ 10 h 30"/>
              <a:gd name="T2" fmla="*/ 6 w 52"/>
              <a:gd name="T3" fmla="*/ 30 h 30"/>
              <a:gd name="T4" fmla="*/ 0 w 52"/>
              <a:gd name="T5" fmla="*/ 20 h 30"/>
              <a:gd name="T6" fmla="*/ 48 w 52"/>
              <a:gd name="T7" fmla="*/ 0 h 30"/>
              <a:gd name="T8" fmla="*/ 52 w 52"/>
              <a:gd name="T9" fmla="*/ 10 h 30"/>
              <a:gd name="T10" fmla="*/ 52 w 52"/>
              <a:gd name="T11" fmla="*/ 1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2" h="30">
                <a:moveTo>
                  <a:pt x="52" y="10"/>
                </a:moveTo>
                <a:lnTo>
                  <a:pt x="6" y="30"/>
                </a:lnTo>
                <a:lnTo>
                  <a:pt x="0" y="20"/>
                </a:lnTo>
                <a:lnTo>
                  <a:pt x="48" y="0"/>
                </a:lnTo>
                <a:lnTo>
                  <a:pt x="52" y="10"/>
                </a:lnTo>
                <a:lnTo>
                  <a:pt x="52" y="1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17" name="Freeform 393"/>
          <p:cNvSpPr>
            <a:spLocks/>
          </p:cNvSpPr>
          <p:nvPr/>
        </p:nvSpPr>
        <p:spPr bwMode="gray">
          <a:xfrm>
            <a:off x="9458855" y="134938"/>
            <a:ext cx="32677" cy="36512"/>
          </a:xfrm>
          <a:custGeom>
            <a:avLst/>
            <a:gdLst>
              <a:gd name="T0" fmla="*/ 12 w 42"/>
              <a:gd name="T1" fmla="*/ 52 h 52"/>
              <a:gd name="T2" fmla="*/ 0 w 42"/>
              <a:gd name="T3" fmla="*/ 0 h 52"/>
              <a:gd name="T4" fmla="*/ 10 w 42"/>
              <a:gd name="T5" fmla="*/ 2 h 52"/>
              <a:gd name="T6" fmla="*/ 10 w 42"/>
              <a:gd name="T7" fmla="*/ 2 h 52"/>
              <a:gd name="T8" fmla="*/ 18 w 42"/>
              <a:gd name="T9" fmla="*/ 40 h 52"/>
              <a:gd name="T10" fmla="*/ 18 w 42"/>
              <a:gd name="T11" fmla="*/ 40 h 52"/>
              <a:gd name="T12" fmla="*/ 32 w 42"/>
              <a:gd name="T13" fmla="*/ 4 h 52"/>
              <a:gd name="T14" fmla="*/ 42 w 42"/>
              <a:gd name="T15" fmla="*/ 4 h 52"/>
              <a:gd name="T16" fmla="*/ 20 w 42"/>
              <a:gd name="T17" fmla="*/ 52 h 52"/>
              <a:gd name="T18" fmla="*/ 12 w 42"/>
              <a:gd name="T19" fmla="*/ 52 h 52"/>
              <a:gd name="T20" fmla="*/ 12 w 42"/>
              <a:gd name="T21" fmla="*/ 5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2" h="52">
                <a:moveTo>
                  <a:pt x="12" y="52"/>
                </a:moveTo>
                <a:lnTo>
                  <a:pt x="0" y="0"/>
                </a:lnTo>
                <a:lnTo>
                  <a:pt x="10" y="2"/>
                </a:lnTo>
                <a:lnTo>
                  <a:pt x="10" y="2"/>
                </a:lnTo>
                <a:lnTo>
                  <a:pt x="18" y="40"/>
                </a:lnTo>
                <a:lnTo>
                  <a:pt x="18" y="40"/>
                </a:lnTo>
                <a:lnTo>
                  <a:pt x="32" y="4"/>
                </a:lnTo>
                <a:lnTo>
                  <a:pt x="42" y="4"/>
                </a:lnTo>
                <a:lnTo>
                  <a:pt x="20" y="52"/>
                </a:lnTo>
                <a:lnTo>
                  <a:pt x="12" y="52"/>
                </a:lnTo>
                <a:lnTo>
                  <a:pt x="12" y="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18" name="Freeform 394"/>
          <p:cNvSpPr>
            <a:spLocks/>
          </p:cNvSpPr>
          <p:nvPr/>
        </p:nvSpPr>
        <p:spPr bwMode="gray">
          <a:xfrm>
            <a:off x="9290315" y="184150"/>
            <a:ext cx="48154" cy="39688"/>
          </a:xfrm>
          <a:custGeom>
            <a:avLst/>
            <a:gdLst>
              <a:gd name="T0" fmla="*/ 32 w 62"/>
              <a:gd name="T1" fmla="*/ 12 h 56"/>
              <a:gd name="T2" fmla="*/ 22 w 62"/>
              <a:gd name="T3" fmla="*/ 32 h 56"/>
              <a:gd name="T4" fmla="*/ 12 w 62"/>
              <a:gd name="T5" fmla="*/ 26 h 56"/>
              <a:gd name="T6" fmla="*/ 24 w 62"/>
              <a:gd name="T7" fmla="*/ 4 h 56"/>
              <a:gd name="T8" fmla="*/ 18 w 62"/>
              <a:gd name="T9" fmla="*/ 0 h 56"/>
              <a:gd name="T10" fmla="*/ 0 w 62"/>
              <a:gd name="T11" fmla="*/ 32 h 56"/>
              <a:gd name="T12" fmla="*/ 44 w 62"/>
              <a:gd name="T13" fmla="*/ 56 h 56"/>
              <a:gd name="T14" fmla="*/ 62 w 62"/>
              <a:gd name="T15" fmla="*/ 24 h 56"/>
              <a:gd name="T16" fmla="*/ 54 w 62"/>
              <a:gd name="T17" fmla="*/ 20 h 56"/>
              <a:gd name="T18" fmla="*/ 42 w 62"/>
              <a:gd name="T19" fmla="*/ 42 h 56"/>
              <a:gd name="T20" fmla="*/ 28 w 62"/>
              <a:gd name="T21" fmla="*/ 36 h 56"/>
              <a:gd name="T22" fmla="*/ 40 w 62"/>
              <a:gd name="T23" fmla="*/ 16 h 56"/>
              <a:gd name="T24" fmla="*/ 32 w 62"/>
              <a:gd name="T25" fmla="*/ 12 h 56"/>
              <a:gd name="T26" fmla="*/ 32 w 62"/>
              <a:gd name="T27" fmla="*/ 12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" h="56">
                <a:moveTo>
                  <a:pt x="32" y="12"/>
                </a:moveTo>
                <a:lnTo>
                  <a:pt x="22" y="32"/>
                </a:lnTo>
                <a:lnTo>
                  <a:pt x="12" y="26"/>
                </a:lnTo>
                <a:lnTo>
                  <a:pt x="24" y="4"/>
                </a:lnTo>
                <a:lnTo>
                  <a:pt x="18" y="0"/>
                </a:lnTo>
                <a:lnTo>
                  <a:pt x="0" y="32"/>
                </a:lnTo>
                <a:lnTo>
                  <a:pt x="44" y="56"/>
                </a:lnTo>
                <a:lnTo>
                  <a:pt x="62" y="24"/>
                </a:lnTo>
                <a:lnTo>
                  <a:pt x="54" y="20"/>
                </a:lnTo>
                <a:lnTo>
                  <a:pt x="42" y="42"/>
                </a:lnTo>
                <a:lnTo>
                  <a:pt x="28" y="36"/>
                </a:lnTo>
                <a:lnTo>
                  <a:pt x="40" y="16"/>
                </a:lnTo>
                <a:lnTo>
                  <a:pt x="32" y="12"/>
                </a:lnTo>
                <a:lnTo>
                  <a:pt x="32" y="1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19" name="Freeform 395"/>
          <p:cNvSpPr>
            <a:spLocks noEditPoints="1"/>
          </p:cNvSpPr>
          <p:nvPr/>
        </p:nvSpPr>
        <p:spPr bwMode="gray">
          <a:xfrm>
            <a:off x="9257639" y="338139"/>
            <a:ext cx="39555" cy="28575"/>
          </a:xfrm>
          <a:custGeom>
            <a:avLst/>
            <a:gdLst>
              <a:gd name="T0" fmla="*/ 48 w 50"/>
              <a:gd name="T1" fmla="*/ 8 h 40"/>
              <a:gd name="T2" fmla="*/ 48 w 50"/>
              <a:gd name="T3" fmla="*/ 8 h 40"/>
              <a:gd name="T4" fmla="*/ 46 w 50"/>
              <a:gd name="T5" fmla="*/ 4 h 40"/>
              <a:gd name="T6" fmla="*/ 42 w 50"/>
              <a:gd name="T7" fmla="*/ 2 h 40"/>
              <a:gd name="T8" fmla="*/ 34 w 50"/>
              <a:gd name="T9" fmla="*/ 0 h 40"/>
              <a:gd name="T10" fmla="*/ 34 w 50"/>
              <a:gd name="T11" fmla="*/ 0 h 40"/>
              <a:gd name="T12" fmla="*/ 28 w 50"/>
              <a:gd name="T13" fmla="*/ 2 h 40"/>
              <a:gd name="T14" fmla="*/ 22 w 50"/>
              <a:gd name="T15" fmla="*/ 10 h 40"/>
              <a:gd name="T16" fmla="*/ 22 w 50"/>
              <a:gd name="T17" fmla="*/ 10 h 40"/>
              <a:gd name="T18" fmla="*/ 20 w 50"/>
              <a:gd name="T19" fmla="*/ 4 h 40"/>
              <a:gd name="T20" fmla="*/ 14 w 50"/>
              <a:gd name="T21" fmla="*/ 2 h 40"/>
              <a:gd name="T22" fmla="*/ 14 w 50"/>
              <a:gd name="T23" fmla="*/ 2 h 40"/>
              <a:gd name="T24" fmla="*/ 8 w 50"/>
              <a:gd name="T25" fmla="*/ 2 h 40"/>
              <a:gd name="T26" fmla="*/ 4 w 50"/>
              <a:gd name="T27" fmla="*/ 4 h 40"/>
              <a:gd name="T28" fmla="*/ 2 w 50"/>
              <a:gd name="T29" fmla="*/ 6 h 40"/>
              <a:gd name="T30" fmla="*/ 2 w 50"/>
              <a:gd name="T31" fmla="*/ 6 h 40"/>
              <a:gd name="T32" fmla="*/ 0 w 50"/>
              <a:gd name="T33" fmla="*/ 12 h 40"/>
              <a:gd name="T34" fmla="*/ 0 w 50"/>
              <a:gd name="T35" fmla="*/ 22 h 40"/>
              <a:gd name="T36" fmla="*/ 0 w 50"/>
              <a:gd name="T37" fmla="*/ 40 h 40"/>
              <a:gd name="T38" fmla="*/ 50 w 50"/>
              <a:gd name="T39" fmla="*/ 40 h 40"/>
              <a:gd name="T40" fmla="*/ 50 w 50"/>
              <a:gd name="T41" fmla="*/ 36 h 40"/>
              <a:gd name="T42" fmla="*/ 50 w 50"/>
              <a:gd name="T43" fmla="*/ 36 h 40"/>
              <a:gd name="T44" fmla="*/ 50 w 50"/>
              <a:gd name="T45" fmla="*/ 18 h 40"/>
              <a:gd name="T46" fmla="*/ 48 w 50"/>
              <a:gd name="T47" fmla="*/ 8 h 40"/>
              <a:gd name="T48" fmla="*/ 48 w 50"/>
              <a:gd name="T49" fmla="*/ 8 h 40"/>
              <a:gd name="T50" fmla="*/ 20 w 50"/>
              <a:gd name="T51" fmla="*/ 30 h 40"/>
              <a:gd name="T52" fmla="*/ 8 w 50"/>
              <a:gd name="T53" fmla="*/ 30 h 40"/>
              <a:gd name="T54" fmla="*/ 8 w 50"/>
              <a:gd name="T55" fmla="*/ 30 h 40"/>
              <a:gd name="T56" fmla="*/ 8 w 50"/>
              <a:gd name="T57" fmla="*/ 16 h 40"/>
              <a:gd name="T58" fmla="*/ 8 w 50"/>
              <a:gd name="T59" fmla="*/ 14 h 40"/>
              <a:gd name="T60" fmla="*/ 12 w 50"/>
              <a:gd name="T61" fmla="*/ 12 h 40"/>
              <a:gd name="T62" fmla="*/ 12 w 50"/>
              <a:gd name="T63" fmla="*/ 12 h 40"/>
              <a:gd name="T64" fmla="*/ 18 w 50"/>
              <a:gd name="T65" fmla="*/ 12 h 40"/>
              <a:gd name="T66" fmla="*/ 20 w 50"/>
              <a:gd name="T67" fmla="*/ 14 h 40"/>
              <a:gd name="T68" fmla="*/ 20 w 50"/>
              <a:gd name="T69" fmla="*/ 14 h 40"/>
              <a:gd name="T70" fmla="*/ 20 w 50"/>
              <a:gd name="T71" fmla="*/ 30 h 40"/>
              <a:gd name="T72" fmla="*/ 20 w 50"/>
              <a:gd name="T73" fmla="*/ 30 h 40"/>
              <a:gd name="T74" fmla="*/ 42 w 50"/>
              <a:gd name="T75" fmla="*/ 30 h 40"/>
              <a:gd name="T76" fmla="*/ 28 w 50"/>
              <a:gd name="T77" fmla="*/ 30 h 40"/>
              <a:gd name="T78" fmla="*/ 28 w 50"/>
              <a:gd name="T79" fmla="*/ 30 h 40"/>
              <a:gd name="T80" fmla="*/ 28 w 50"/>
              <a:gd name="T81" fmla="*/ 30 h 40"/>
              <a:gd name="T82" fmla="*/ 28 w 50"/>
              <a:gd name="T83" fmla="*/ 16 h 40"/>
              <a:gd name="T84" fmla="*/ 28 w 50"/>
              <a:gd name="T85" fmla="*/ 12 h 40"/>
              <a:gd name="T86" fmla="*/ 32 w 50"/>
              <a:gd name="T87" fmla="*/ 10 h 40"/>
              <a:gd name="T88" fmla="*/ 32 w 50"/>
              <a:gd name="T89" fmla="*/ 10 h 40"/>
              <a:gd name="T90" fmla="*/ 36 w 50"/>
              <a:gd name="T91" fmla="*/ 10 h 40"/>
              <a:gd name="T92" fmla="*/ 40 w 50"/>
              <a:gd name="T93" fmla="*/ 12 h 40"/>
              <a:gd name="T94" fmla="*/ 40 w 50"/>
              <a:gd name="T95" fmla="*/ 12 h 40"/>
              <a:gd name="T96" fmla="*/ 40 w 50"/>
              <a:gd name="T97" fmla="*/ 14 h 40"/>
              <a:gd name="T98" fmla="*/ 42 w 50"/>
              <a:gd name="T99" fmla="*/ 18 h 40"/>
              <a:gd name="T100" fmla="*/ 42 w 50"/>
              <a:gd name="T101" fmla="*/ 30 h 40"/>
              <a:gd name="T102" fmla="*/ 42 w 50"/>
              <a:gd name="T103" fmla="*/ 3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0" h="40">
                <a:moveTo>
                  <a:pt x="48" y="8"/>
                </a:moveTo>
                <a:lnTo>
                  <a:pt x="48" y="8"/>
                </a:lnTo>
                <a:lnTo>
                  <a:pt x="46" y="4"/>
                </a:lnTo>
                <a:lnTo>
                  <a:pt x="42" y="2"/>
                </a:lnTo>
                <a:lnTo>
                  <a:pt x="34" y="0"/>
                </a:lnTo>
                <a:lnTo>
                  <a:pt x="34" y="0"/>
                </a:lnTo>
                <a:lnTo>
                  <a:pt x="28" y="2"/>
                </a:lnTo>
                <a:lnTo>
                  <a:pt x="22" y="10"/>
                </a:lnTo>
                <a:lnTo>
                  <a:pt x="22" y="10"/>
                </a:lnTo>
                <a:lnTo>
                  <a:pt x="20" y="4"/>
                </a:lnTo>
                <a:lnTo>
                  <a:pt x="14" y="2"/>
                </a:lnTo>
                <a:lnTo>
                  <a:pt x="14" y="2"/>
                </a:lnTo>
                <a:lnTo>
                  <a:pt x="8" y="2"/>
                </a:lnTo>
                <a:lnTo>
                  <a:pt x="4" y="4"/>
                </a:lnTo>
                <a:lnTo>
                  <a:pt x="2" y="6"/>
                </a:lnTo>
                <a:lnTo>
                  <a:pt x="2" y="6"/>
                </a:lnTo>
                <a:lnTo>
                  <a:pt x="0" y="12"/>
                </a:lnTo>
                <a:lnTo>
                  <a:pt x="0" y="22"/>
                </a:lnTo>
                <a:lnTo>
                  <a:pt x="0" y="40"/>
                </a:lnTo>
                <a:lnTo>
                  <a:pt x="50" y="40"/>
                </a:lnTo>
                <a:lnTo>
                  <a:pt x="50" y="36"/>
                </a:lnTo>
                <a:lnTo>
                  <a:pt x="50" y="36"/>
                </a:lnTo>
                <a:lnTo>
                  <a:pt x="50" y="18"/>
                </a:lnTo>
                <a:lnTo>
                  <a:pt x="48" y="8"/>
                </a:lnTo>
                <a:lnTo>
                  <a:pt x="48" y="8"/>
                </a:lnTo>
                <a:close/>
                <a:moveTo>
                  <a:pt x="20" y="30"/>
                </a:moveTo>
                <a:lnTo>
                  <a:pt x="8" y="30"/>
                </a:lnTo>
                <a:lnTo>
                  <a:pt x="8" y="30"/>
                </a:lnTo>
                <a:lnTo>
                  <a:pt x="8" y="16"/>
                </a:lnTo>
                <a:lnTo>
                  <a:pt x="8" y="14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20" y="14"/>
                </a:lnTo>
                <a:lnTo>
                  <a:pt x="20" y="14"/>
                </a:lnTo>
                <a:lnTo>
                  <a:pt x="20" y="30"/>
                </a:lnTo>
                <a:lnTo>
                  <a:pt x="20" y="30"/>
                </a:lnTo>
                <a:close/>
                <a:moveTo>
                  <a:pt x="42" y="30"/>
                </a:moveTo>
                <a:lnTo>
                  <a:pt x="28" y="30"/>
                </a:lnTo>
                <a:lnTo>
                  <a:pt x="28" y="30"/>
                </a:lnTo>
                <a:lnTo>
                  <a:pt x="28" y="30"/>
                </a:lnTo>
                <a:lnTo>
                  <a:pt x="28" y="16"/>
                </a:lnTo>
                <a:lnTo>
                  <a:pt x="28" y="12"/>
                </a:lnTo>
                <a:lnTo>
                  <a:pt x="32" y="10"/>
                </a:lnTo>
                <a:lnTo>
                  <a:pt x="32" y="10"/>
                </a:lnTo>
                <a:lnTo>
                  <a:pt x="36" y="10"/>
                </a:lnTo>
                <a:lnTo>
                  <a:pt x="40" y="12"/>
                </a:lnTo>
                <a:lnTo>
                  <a:pt x="40" y="12"/>
                </a:lnTo>
                <a:lnTo>
                  <a:pt x="40" y="14"/>
                </a:lnTo>
                <a:lnTo>
                  <a:pt x="42" y="18"/>
                </a:lnTo>
                <a:lnTo>
                  <a:pt x="42" y="30"/>
                </a:lnTo>
                <a:lnTo>
                  <a:pt x="42" y="3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20" name="Freeform 396"/>
          <p:cNvSpPr>
            <a:spLocks/>
          </p:cNvSpPr>
          <p:nvPr/>
        </p:nvSpPr>
        <p:spPr bwMode="gray">
          <a:xfrm>
            <a:off x="9575800" y="246063"/>
            <a:ext cx="41275" cy="30162"/>
          </a:xfrm>
          <a:custGeom>
            <a:avLst/>
            <a:gdLst>
              <a:gd name="T0" fmla="*/ 36 w 54"/>
              <a:gd name="T1" fmla="*/ 2 h 42"/>
              <a:gd name="T2" fmla="*/ 44 w 54"/>
              <a:gd name="T3" fmla="*/ 0 h 42"/>
              <a:gd name="T4" fmla="*/ 54 w 54"/>
              <a:gd name="T5" fmla="*/ 38 h 42"/>
              <a:gd name="T6" fmla="*/ 46 w 54"/>
              <a:gd name="T7" fmla="*/ 42 h 42"/>
              <a:gd name="T8" fmla="*/ 42 w 54"/>
              <a:gd name="T9" fmla="*/ 26 h 42"/>
              <a:gd name="T10" fmla="*/ 2 w 54"/>
              <a:gd name="T11" fmla="*/ 36 h 42"/>
              <a:gd name="T12" fmla="*/ 0 w 54"/>
              <a:gd name="T13" fmla="*/ 26 h 42"/>
              <a:gd name="T14" fmla="*/ 40 w 54"/>
              <a:gd name="T15" fmla="*/ 16 h 42"/>
              <a:gd name="T16" fmla="*/ 36 w 54"/>
              <a:gd name="T17" fmla="*/ 2 h 42"/>
              <a:gd name="T18" fmla="*/ 36 w 54"/>
              <a:gd name="T19" fmla="*/ 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4" h="42">
                <a:moveTo>
                  <a:pt x="36" y="2"/>
                </a:moveTo>
                <a:lnTo>
                  <a:pt x="44" y="0"/>
                </a:lnTo>
                <a:lnTo>
                  <a:pt x="54" y="38"/>
                </a:lnTo>
                <a:lnTo>
                  <a:pt x="46" y="42"/>
                </a:lnTo>
                <a:lnTo>
                  <a:pt x="42" y="26"/>
                </a:lnTo>
                <a:lnTo>
                  <a:pt x="2" y="36"/>
                </a:lnTo>
                <a:lnTo>
                  <a:pt x="0" y="26"/>
                </a:lnTo>
                <a:lnTo>
                  <a:pt x="40" y="16"/>
                </a:lnTo>
                <a:lnTo>
                  <a:pt x="36" y="2"/>
                </a:lnTo>
                <a:lnTo>
                  <a:pt x="3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21" name="Freeform 397"/>
          <p:cNvSpPr>
            <a:spLocks/>
          </p:cNvSpPr>
          <p:nvPr/>
        </p:nvSpPr>
        <p:spPr bwMode="gray">
          <a:xfrm>
            <a:off x="9384904" y="138114"/>
            <a:ext cx="22357" cy="34925"/>
          </a:xfrm>
          <a:custGeom>
            <a:avLst/>
            <a:gdLst>
              <a:gd name="T0" fmla="*/ 28 w 28"/>
              <a:gd name="T1" fmla="*/ 48 h 48"/>
              <a:gd name="T2" fmla="*/ 28 w 28"/>
              <a:gd name="T3" fmla="*/ 48 h 48"/>
              <a:gd name="T4" fmla="*/ 20 w 28"/>
              <a:gd name="T5" fmla="*/ 48 h 48"/>
              <a:gd name="T6" fmla="*/ 12 w 28"/>
              <a:gd name="T7" fmla="*/ 46 h 48"/>
              <a:gd name="T8" fmla="*/ 12 w 28"/>
              <a:gd name="T9" fmla="*/ 46 h 48"/>
              <a:gd name="T10" fmla="*/ 8 w 28"/>
              <a:gd name="T11" fmla="*/ 42 h 48"/>
              <a:gd name="T12" fmla="*/ 6 w 28"/>
              <a:gd name="T13" fmla="*/ 38 h 48"/>
              <a:gd name="T14" fmla="*/ 0 w 28"/>
              <a:gd name="T15" fmla="*/ 2 h 48"/>
              <a:gd name="T16" fmla="*/ 10 w 28"/>
              <a:gd name="T17" fmla="*/ 0 h 48"/>
              <a:gd name="T18" fmla="*/ 16 w 28"/>
              <a:gd name="T19" fmla="*/ 36 h 48"/>
              <a:gd name="T20" fmla="*/ 16 w 28"/>
              <a:gd name="T21" fmla="*/ 36 h 48"/>
              <a:gd name="T22" fmla="*/ 18 w 28"/>
              <a:gd name="T23" fmla="*/ 40 h 48"/>
              <a:gd name="T24" fmla="*/ 22 w 28"/>
              <a:gd name="T25" fmla="*/ 40 h 48"/>
              <a:gd name="T26" fmla="*/ 22 w 28"/>
              <a:gd name="T27" fmla="*/ 40 h 48"/>
              <a:gd name="T28" fmla="*/ 26 w 28"/>
              <a:gd name="T29" fmla="*/ 42 h 48"/>
              <a:gd name="T30" fmla="*/ 28 w 28"/>
              <a:gd name="T31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8" h="48">
                <a:moveTo>
                  <a:pt x="28" y="48"/>
                </a:moveTo>
                <a:lnTo>
                  <a:pt x="28" y="48"/>
                </a:lnTo>
                <a:lnTo>
                  <a:pt x="20" y="48"/>
                </a:lnTo>
                <a:lnTo>
                  <a:pt x="12" y="46"/>
                </a:lnTo>
                <a:lnTo>
                  <a:pt x="12" y="46"/>
                </a:lnTo>
                <a:lnTo>
                  <a:pt x="8" y="42"/>
                </a:lnTo>
                <a:lnTo>
                  <a:pt x="6" y="38"/>
                </a:lnTo>
                <a:lnTo>
                  <a:pt x="0" y="2"/>
                </a:lnTo>
                <a:lnTo>
                  <a:pt x="10" y="0"/>
                </a:lnTo>
                <a:lnTo>
                  <a:pt x="16" y="36"/>
                </a:lnTo>
                <a:lnTo>
                  <a:pt x="16" y="36"/>
                </a:lnTo>
                <a:lnTo>
                  <a:pt x="18" y="40"/>
                </a:lnTo>
                <a:lnTo>
                  <a:pt x="22" y="40"/>
                </a:lnTo>
                <a:lnTo>
                  <a:pt x="22" y="40"/>
                </a:lnTo>
                <a:lnTo>
                  <a:pt x="26" y="42"/>
                </a:lnTo>
                <a:lnTo>
                  <a:pt x="28" y="48"/>
                </a:lnTo>
                <a:close/>
              </a:path>
            </a:pathLst>
          </a:custGeom>
          <a:solidFill>
            <a:srgbClr val="7170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22" name="Freeform 398"/>
          <p:cNvSpPr>
            <a:spLocks/>
          </p:cNvSpPr>
          <p:nvPr/>
        </p:nvSpPr>
        <p:spPr bwMode="gray">
          <a:xfrm>
            <a:off x="9384904" y="138114"/>
            <a:ext cx="22357" cy="34925"/>
          </a:xfrm>
          <a:custGeom>
            <a:avLst/>
            <a:gdLst>
              <a:gd name="T0" fmla="*/ 28 w 28"/>
              <a:gd name="T1" fmla="*/ 48 h 48"/>
              <a:gd name="T2" fmla="*/ 28 w 28"/>
              <a:gd name="T3" fmla="*/ 48 h 48"/>
              <a:gd name="T4" fmla="*/ 20 w 28"/>
              <a:gd name="T5" fmla="*/ 48 h 48"/>
              <a:gd name="T6" fmla="*/ 12 w 28"/>
              <a:gd name="T7" fmla="*/ 46 h 48"/>
              <a:gd name="T8" fmla="*/ 12 w 28"/>
              <a:gd name="T9" fmla="*/ 46 h 48"/>
              <a:gd name="T10" fmla="*/ 8 w 28"/>
              <a:gd name="T11" fmla="*/ 42 h 48"/>
              <a:gd name="T12" fmla="*/ 6 w 28"/>
              <a:gd name="T13" fmla="*/ 38 h 48"/>
              <a:gd name="T14" fmla="*/ 0 w 28"/>
              <a:gd name="T15" fmla="*/ 2 h 48"/>
              <a:gd name="T16" fmla="*/ 10 w 28"/>
              <a:gd name="T17" fmla="*/ 0 h 48"/>
              <a:gd name="T18" fmla="*/ 16 w 28"/>
              <a:gd name="T19" fmla="*/ 36 h 48"/>
              <a:gd name="T20" fmla="*/ 16 w 28"/>
              <a:gd name="T21" fmla="*/ 36 h 48"/>
              <a:gd name="T22" fmla="*/ 18 w 28"/>
              <a:gd name="T23" fmla="*/ 40 h 48"/>
              <a:gd name="T24" fmla="*/ 22 w 28"/>
              <a:gd name="T25" fmla="*/ 40 h 48"/>
              <a:gd name="T26" fmla="*/ 22 w 28"/>
              <a:gd name="T27" fmla="*/ 40 h 48"/>
              <a:gd name="T28" fmla="*/ 26 w 28"/>
              <a:gd name="T29" fmla="*/ 42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8" h="48">
                <a:moveTo>
                  <a:pt x="28" y="48"/>
                </a:moveTo>
                <a:lnTo>
                  <a:pt x="28" y="48"/>
                </a:lnTo>
                <a:lnTo>
                  <a:pt x="20" y="48"/>
                </a:lnTo>
                <a:lnTo>
                  <a:pt x="12" y="46"/>
                </a:lnTo>
                <a:lnTo>
                  <a:pt x="12" y="46"/>
                </a:lnTo>
                <a:lnTo>
                  <a:pt x="8" y="42"/>
                </a:lnTo>
                <a:lnTo>
                  <a:pt x="6" y="38"/>
                </a:lnTo>
                <a:lnTo>
                  <a:pt x="0" y="2"/>
                </a:lnTo>
                <a:lnTo>
                  <a:pt x="10" y="0"/>
                </a:lnTo>
                <a:lnTo>
                  <a:pt x="16" y="36"/>
                </a:lnTo>
                <a:lnTo>
                  <a:pt x="16" y="36"/>
                </a:lnTo>
                <a:lnTo>
                  <a:pt x="18" y="40"/>
                </a:lnTo>
                <a:lnTo>
                  <a:pt x="22" y="40"/>
                </a:lnTo>
                <a:lnTo>
                  <a:pt x="22" y="40"/>
                </a:lnTo>
                <a:lnTo>
                  <a:pt x="26" y="4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23" name="Freeform 399"/>
          <p:cNvSpPr>
            <a:spLocks/>
          </p:cNvSpPr>
          <p:nvPr/>
        </p:nvSpPr>
        <p:spPr bwMode="gray">
          <a:xfrm>
            <a:off x="9405542" y="134938"/>
            <a:ext cx="15478" cy="38100"/>
          </a:xfrm>
          <a:custGeom>
            <a:avLst/>
            <a:gdLst>
              <a:gd name="T0" fmla="*/ 2 w 20"/>
              <a:gd name="T1" fmla="*/ 54 h 54"/>
              <a:gd name="T2" fmla="*/ 2 w 20"/>
              <a:gd name="T3" fmla="*/ 54 h 54"/>
              <a:gd name="T4" fmla="*/ 10 w 20"/>
              <a:gd name="T5" fmla="*/ 52 h 54"/>
              <a:gd name="T6" fmla="*/ 16 w 20"/>
              <a:gd name="T7" fmla="*/ 48 h 54"/>
              <a:gd name="T8" fmla="*/ 16 w 20"/>
              <a:gd name="T9" fmla="*/ 48 h 54"/>
              <a:gd name="T10" fmla="*/ 20 w 20"/>
              <a:gd name="T11" fmla="*/ 42 h 54"/>
              <a:gd name="T12" fmla="*/ 20 w 20"/>
              <a:gd name="T13" fmla="*/ 36 h 54"/>
              <a:gd name="T14" fmla="*/ 14 w 20"/>
              <a:gd name="T15" fmla="*/ 0 h 54"/>
              <a:gd name="T16" fmla="*/ 4 w 20"/>
              <a:gd name="T17" fmla="*/ 2 h 54"/>
              <a:gd name="T18" fmla="*/ 10 w 20"/>
              <a:gd name="T19" fmla="*/ 38 h 54"/>
              <a:gd name="T20" fmla="*/ 10 w 20"/>
              <a:gd name="T21" fmla="*/ 38 h 54"/>
              <a:gd name="T22" fmla="*/ 8 w 20"/>
              <a:gd name="T23" fmla="*/ 42 h 54"/>
              <a:gd name="T24" fmla="*/ 6 w 20"/>
              <a:gd name="T25" fmla="*/ 46 h 54"/>
              <a:gd name="T26" fmla="*/ 6 w 20"/>
              <a:gd name="T27" fmla="*/ 46 h 54"/>
              <a:gd name="T28" fmla="*/ 0 w 20"/>
              <a:gd name="T29" fmla="*/ 48 h 54"/>
              <a:gd name="T30" fmla="*/ 2 w 20"/>
              <a:gd name="T31" fmla="*/ 5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0" h="54">
                <a:moveTo>
                  <a:pt x="2" y="54"/>
                </a:moveTo>
                <a:lnTo>
                  <a:pt x="2" y="54"/>
                </a:lnTo>
                <a:lnTo>
                  <a:pt x="10" y="52"/>
                </a:lnTo>
                <a:lnTo>
                  <a:pt x="16" y="48"/>
                </a:lnTo>
                <a:lnTo>
                  <a:pt x="16" y="48"/>
                </a:lnTo>
                <a:lnTo>
                  <a:pt x="20" y="42"/>
                </a:lnTo>
                <a:lnTo>
                  <a:pt x="20" y="36"/>
                </a:lnTo>
                <a:lnTo>
                  <a:pt x="14" y="0"/>
                </a:lnTo>
                <a:lnTo>
                  <a:pt x="4" y="2"/>
                </a:lnTo>
                <a:lnTo>
                  <a:pt x="10" y="38"/>
                </a:lnTo>
                <a:lnTo>
                  <a:pt x="10" y="38"/>
                </a:lnTo>
                <a:lnTo>
                  <a:pt x="8" y="42"/>
                </a:lnTo>
                <a:lnTo>
                  <a:pt x="6" y="46"/>
                </a:lnTo>
                <a:lnTo>
                  <a:pt x="6" y="46"/>
                </a:lnTo>
                <a:lnTo>
                  <a:pt x="0" y="48"/>
                </a:lnTo>
                <a:lnTo>
                  <a:pt x="2" y="54"/>
                </a:lnTo>
                <a:close/>
              </a:path>
            </a:pathLst>
          </a:custGeom>
          <a:solidFill>
            <a:srgbClr val="7170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24" name="Freeform 400"/>
          <p:cNvSpPr>
            <a:spLocks/>
          </p:cNvSpPr>
          <p:nvPr/>
        </p:nvSpPr>
        <p:spPr bwMode="gray">
          <a:xfrm>
            <a:off x="9405542" y="134938"/>
            <a:ext cx="15478" cy="38100"/>
          </a:xfrm>
          <a:custGeom>
            <a:avLst/>
            <a:gdLst>
              <a:gd name="T0" fmla="*/ 2 w 20"/>
              <a:gd name="T1" fmla="*/ 54 h 54"/>
              <a:gd name="T2" fmla="*/ 2 w 20"/>
              <a:gd name="T3" fmla="*/ 54 h 54"/>
              <a:gd name="T4" fmla="*/ 10 w 20"/>
              <a:gd name="T5" fmla="*/ 52 h 54"/>
              <a:gd name="T6" fmla="*/ 16 w 20"/>
              <a:gd name="T7" fmla="*/ 48 h 54"/>
              <a:gd name="T8" fmla="*/ 16 w 20"/>
              <a:gd name="T9" fmla="*/ 48 h 54"/>
              <a:gd name="T10" fmla="*/ 20 w 20"/>
              <a:gd name="T11" fmla="*/ 42 h 54"/>
              <a:gd name="T12" fmla="*/ 20 w 20"/>
              <a:gd name="T13" fmla="*/ 36 h 54"/>
              <a:gd name="T14" fmla="*/ 14 w 20"/>
              <a:gd name="T15" fmla="*/ 0 h 54"/>
              <a:gd name="T16" fmla="*/ 4 w 20"/>
              <a:gd name="T17" fmla="*/ 2 h 54"/>
              <a:gd name="T18" fmla="*/ 10 w 20"/>
              <a:gd name="T19" fmla="*/ 38 h 54"/>
              <a:gd name="T20" fmla="*/ 10 w 20"/>
              <a:gd name="T21" fmla="*/ 38 h 54"/>
              <a:gd name="T22" fmla="*/ 8 w 20"/>
              <a:gd name="T23" fmla="*/ 42 h 54"/>
              <a:gd name="T24" fmla="*/ 6 w 20"/>
              <a:gd name="T25" fmla="*/ 46 h 54"/>
              <a:gd name="T26" fmla="*/ 6 w 20"/>
              <a:gd name="T27" fmla="*/ 46 h 54"/>
              <a:gd name="T28" fmla="*/ 0 w 20"/>
              <a:gd name="T29" fmla="*/ 48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" h="54">
                <a:moveTo>
                  <a:pt x="2" y="54"/>
                </a:moveTo>
                <a:lnTo>
                  <a:pt x="2" y="54"/>
                </a:lnTo>
                <a:lnTo>
                  <a:pt x="10" y="52"/>
                </a:lnTo>
                <a:lnTo>
                  <a:pt x="16" y="48"/>
                </a:lnTo>
                <a:lnTo>
                  <a:pt x="16" y="48"/>
                </a:lnTo>
                <a:lnTo>
                  <a:pt x="20" y="42"/>
                </a:lnTo>
                <a:lnTo>
                  <a:pt x="20" y="36"/>
                </a:lnTo>
                <a:lnTo>
                  <a:pt x="14" y="0"/>
                </a:lnTo>
                <a:lnTo>
                  <a:pt x="4" y="2"/>
                </a:lnTo>
                <a:lnTo>
                  <a:pt x="10" y="38"/>
                </a:lnTo>
                <a:lnTo>
                  <a:pt x="10" y="38"/>
                </a:lnTo>
                <a:lnTo>
                  <a:pt x="8" y="42"/>
                </a:lnTo>
                <a:lnTo>
                  <a:pt x="6" y="46"/>
                </a:lnTo>
                <a:lnTo>
                  <a:pt x="6" y="46"/>
                </a:lnTo>
                <a:lnTo>
                  <a:pt x="0" y="48"/>
                </a:lnTo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25" name="Freeform 401"/>
          <p:cNvSpPr>
            <a:spLocks noEditPoints="1"/>
          </p:cNvSpPr>
          <p:nvPr/>
        </p:nvSpPr>
        <p:spPr bwMode="gray">
          <a:xfrm>
            <a:off x="9580960" y="290513"/>
            <a:ext cx="41275" cy="31750"/>
          </a:xfrm>
          <a:custGeom>
            <a:avLst/>
            <a:gdLst>
              <a:gd name="T0" fmla="*/ 52 w 54"/>
              <a:gd name="T1" fmla="*/ 10 h 46"/>
              <a:gd name="T2" fmla="*/ 0 w 54"/>
              <a:gd name="T3" fmla="*/ 0 h 46"/>
              <a:gd name="T4" fmla="*/ 2 w 54"/>
              <a:gd name="T5" fmla="*/ 10 h 46"/>
              <a:gd name="T6" fmla="*/ 14 w 54"/>
              <a:gd name="T7" fmla="*/ 12 h 46"/>
              <a:gd name="T8" fmla="*/ 16 w 54"/>
              <a:gd name="T9" fmla="*/ 30 h 46"/>
              <a:gd name="T10" fmla="*/ 6 w 54"/>
              <a:gd name="T11" fmla="*/ 36 h 46"/>
              <a:gd name="T12" fmla="*/ 8 w 54"/>
              <a:gd name="T13" fmla="*/ 46 h 46"/>
              <a:gd name="T14" fmla="*/ 54 w 54"/>
              <a:gd name="T15" fmla="*/ 22 h 46"/>
              <a:gd name="T16" fmla="*/ 52 w 54"/>
              <a:gd name="T17" fmla="*/ 10 h 46"/>
              <a:gd name="T18" fmla="*/ 52 w 54"/>
              <a:gd name="T19" fmla="*/ 10 h 46"/>
              <a:gd name="T20" fmla="*/ 24 w 54"/>
              <a:gd name="T21" fmla="*/ 26 h 46"/>
              <a:gd name="T22" fmla="*/ 22 w 54"/>
              <a:gd name="T23" fmla="*/ 14 h 46"/>
              <a:gd name="T24" fmla="*/ 44 w 54"/>
              <a:gd name="T25" fmla="*/ 18 h 46"/>
              <a:gd name="T26" fmla="*/ 44 w 54"/>
              <a:gd name="T27" fmla="*/ 18 h 46"/>
              <a:gd name="T28" fmla="*/ 44 w 54"/>
              <a:gd name="T29" fmla="*/ 18 h 46"/>
              <a:gd name="T30" fmla="*/ 44 w 54"/>
              <a:gd name="T31" fmla="*/ 18 h 46"/>
              <a:gd name="T32" fmla="*/ 44 w 54"/>
              <a:gd name="T33" fmla="*/ 18 h 46"/>
              <a:gd name="T34" fmla="*/ 24 w 54"/>
              <a:gd name="T35" fmla="*/ 26 h 46"/>
              <a:gd name="T36" fmla="*/ 24 w 54"/>
              <a:gd name="T37" fmla="*/ 2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4" h="46">
                <a:moveTo>
                  <a:pt x="52" y="10"/>
                </a:moveTo>
                <a:lnTo>
                  <a:pt x="0" y="0"/>
                </a:lnTo>
                <a:lnTo>
                  <a:pt x="2" y="10"/>
                </a:lnTo>
                <a:lnTo>
                  <a:pt x="14" y="12"/>
                </a:lnTo>
                <a:lnTo>
                  <a:pt x="16" y="30"/>
                </a:lnTo>
                <a:lnTo>
                  <a:pt x="6" y="36"/>
                </a:lnTo>
                <a:lnTo>
                  <a:pt x="8" y="46"/>
                </a:lnTo>
                <a:lnTo>
                  <a:pt x="54" y="22"/>
                </a:lnTo>
                <a:lnTo>
                  <a:pt x="52" y="10"/>
                </a:lnTo>
                <a:lnTo>
                  <a:pt x="52" y="10"/>
                </a:lnTo>
                <a:close/>
                <a:moveTo>
                  <a:pt x="24" y="26"/>
                </a:moveTo>
                <a:lnTo>
                  <a:pt x="22" y="14"/>
                </a:lnTo>
                <a:lnTo>
                  <a:pt x="44" y="18"/>
                </a:lnTo>
                <a:lnTo>
                  <a:pt x="44" y="18"/>
                </a:lnTo>
                <a:lnTo>
                  <a:pt x="44" y="18"/>
                </a:lnTo>
                <a:lnTo>
                  <a:pt x="44" y="18"/>
                </a:lnTo>
                <a:lnTo>
                  <a:pt x="44" y="18"/>
                </a:lnTo>
                <a:lnTo>
                  <a:pt x="24" y="26"/>
                </a:lnTo>
                <a:lnTo>
                  <a:pt x="24" y="2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26" name="Freeform 402"/>
          <p:cNvSpPr>
            <a:spLocks/>
          </p:cNvSpPr>
          <p:nvPr/>
        </p:nvSpPr>
        <p:spPr bwMode="gray">
          <a:xfrm>
            <a:off x="9586119" y="336551"/>
            <a:ext cx="41275" cy="30163"/>
          </a:xfrm>
          <a:custGeom>
            <a:avLst/>
            <a:gdLst>
              <a:gd name="T0" fmla="*/ 38 w 52"/>
              <a:gd name="T1" fmla="*/ 32 h 42"/>
              <a:gd name="T2" fmla="*/ 40 w 52"/>
              <a:gd name="T3" fmla="*/ 30 h 42"/>
              <a:gd name="T4" fmla="*/ 44 w 52"/>
              <a:gd name="T5" fmla="*/ 26 h 42"/>
              <a:gd name="T6" fmla="*/ 44 w 52"/>
              <a:gd name="T7" fmla="*/ 20 h 42"/>
              <a:gd name="T8" fmla="*/ 40 w 52"/>
              <a:gd name="T9" fmla="*/ 12 h 42"/>
              <a:gd name="T10" fmla="*/ 36 w 52"/>
              <a:gd name="T11" fmla="*/ 12 h 42"/>
              <a:gd name="T12" fmla="*/ 34 w 52"/>
              <a:gd name="T13" fmla="*/ 14 h 42"/>
              <a:gd name="T14" fmla="*/ 30 w 52"/>
              <a:gd name="T15" fmla="*/ 30 h 42"/>
              <a:gd name="T16" fmla="*/ 22 w 52"/>
              <a:gd name="T17" fmla="*/ 40 h 42"/>
              <a:gd name="T18" fmla="*/ 18 w 52"/>
              <a:gd name="T19" fmla="*/ 42 h 42"/>
              <a:gd name="T20" fmla="*/ 10 w 52"/>
              <a:gd name="T21" fmla="*/ 42 h 42"/>
              <a:gd name="T22" fmla="*/ 2 w 52"/>
              <a:gd name="T23" fmla="*/ 36 h 42"/>
              <a:gd name="T24" fmla="*/ 0 w 52"/>
              <a:gd name="T25" fmla="*/ 30 h 42"/>
              <a:gd name="T26" fmla="*/ 0 w 52"/>
              <a:gd name="T27" fmla="*/ 14 h 42"/>
              <a:gd name="T28" fmla="*/ 2 w 52"/>
              <a:gd name="T29" fmla="*/ 8 h 42"/>
              <a:gd name="T30" fmla="*/ 16 w 52"/>
              <a:gd name="T31" fmla="*/ 0 h 42"/>
              <a:gd name="T32" fmla="*/ 16 w 52"/>
              <a:gd name="T33" fmla="*/ 10 h 42"/>
              <a:gd name="T34" fmla="*/ 8 w 52"/>
              <a:gd name="T35" fmla="*/ 16 h 42"/>
              <a:gd name="T36" fmla="*/ 8 w 52"/>
              <a:gd name="T37" fmla="*/ 24 h 42"/>
              <a:gd name="T38" fmla="*/ 10 w 52"/>
              <a:gd name="T39" fmla="*/ 32 h 42"/>
              <a:gd name="T40" fmla="*/ 14 w 52"/>
              <a:gd name="T41" fmla="*/ 32 h 42"/>
              <a:gd name="T42" fmla="*/ 16 w 52"/>
              <a:gd name="T43" fmla="*/ 32 h 42"/>
              <a:gd name="T44" fmla="*/ 22 w 52"/>
              <a:gd name="T45" fmla="*/ 22 h 42"/>
              <a:gd name="T46" fmla="*/ 24 w 52"/>
              <a:gd name="T47" fmla="*/ 10 h 42"/>
              <a:gd name="T48" fmla="*/ 30 w 52"/>
              <a:gd name="T49" fmla="*/ 2 h 42"/>
              <a:gd name="T50" fmla="*/ 40 w 52"/>
              <a:gd name="T51" fmla="*/ 2 h 42"/>
              <a:gd name="T52" fmla="*/ 46 w 52"/>
              <a:gd name="T53" fmla="*/ 6 h 42"/>
              <a:gd name="T54" fmla="*/ 50 w 52"/>
              <a:gd name="T55" fmla="*/ 12 h 42"/>
              <a:gd name="T56" fmla="*/ 52 w 52"/>
              <a:gd name="T57" fmla="*/ 26 h 42"/>
              <a:gd name="T58" fmla="*/ 50 w 52"/>
              <a:gd name="T59" fmla="*/ 32 h 42"/>
              <a:gd name="T60" fmla="*/ 46 w 52"/>
              <a:gd name="T61" fmla="*/ 38 h 42"/>
              <a:gd name="T62" fmla="*/ 36 w 52"/>
              <a:gd name="T63" fmla="*/ 32 h 42"/>
              <a:gd name="T64" fmla="*/ 38 w 52"/>
              <a:gd name="T65" fmla="*/ 3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2" h="42">
                <a:moveTo>
                  <a:pt x="38" y="32"/>
                </a:moveTo>
                <a:lnTo>
                  <a:pt x="38" y="32"/>
                </a:lnTo>
                <a:lnTo>
                  <a:pt x="40" y="30"/>
                </a:lnTo>
                <a:lnTo>
                  <a:pt x="40" y="30"/>
                </a:lnTo>
                <a:lnTo>
                  <a:pt x="40" y="30"/>
                </a:lnTo>
                <a:lnTo>
                  <a:pt x="44" y="26"/>
                </a:lnTo>
                <a:lnTo>
                  <a:pt x="44" y="20"/>
                </a:lnTo>
                <a:lnTo>
                  <a:pt x="44" y="20"/>
                </a:lnTo>
                <a:lnTo>
                  <a:pt x="44" y="16"/>
                </a:lnTo>
                <a:lnTo>
                  <a:pt x="40" y="12"/>
                </a:lnTo>
                <a:lnTo>
                  <a:pt x="40" y="12"/>
                </a:lnTo>
                <a:lnTo>
                  <a:pt x="36" y="12"/>
                </a:lnTo>
                <a:lnTo>
                  <a:pt x="34" y="14"/>
                </a:lnTo>
                <a:lnTo>
                  <a:pt x="34" y="14"/>
                </a:lnTo>
                <a:lnTo>
                  <a:pt x="32" y="22"/>
                </a:lnTo>
                <a:lnTo>
                  <a:pt x="30" y="30"/>
                </a:lnTo>
                <a:lnTo>
                  <a:pt x="26" y="38"/>
                </a:lnTo>
                <a:lnTo>
                  <a:pt x="22" y="40"/>
                </a:lnTo>
                <a:lnTo>
                  <a:pt x="18" y="42"/>
                </a:lnTo>
                <a:lnTo>
                  <a:pt x="18" y="42"/>
                </a:lnTo>
                <a:lnTo>
                  <a:pt x="14" y="42"/>
                </a:lnTo>
                <a:lnTo>
                  <a:pt x="10" y="42"/>
                </a:lnTo>
                <a:lnTo>
                  <a:pt x="6" y="40"/>
                </a:lnTo>
                <a:lnTo>
                  <a:pt x="2" y="36"/>
                </a:lnTo>
                <a:lnTo>
                  <a:pt x="2" y="36"/>
                </a:lnTo>
                <a:lnTo>
                  <a:pt x="0" y="30"/>
                </a:lnTo>
                <a:lnTo>
                  <a:pt x="0" y="22"/>
                </a:lnTo>
                <a:lnTo>
                  <a:pt x="0" y="14"/>
                </a:lnTo>
                <a:lnTo>
                  <a:pt x="2" y="8"/>
                </a:lnTo>
                <a:lnTo>
                  <a:pt x="2" y="8"/>
                </a:lnTo>
                <a:lnTo>
                  <a:pt x="8" y="2"/>
                </a:lnTo>
                <a:lnTo>
                  <a:pt x="16" y="0"/>
                </a:lnTo>
                <a:lnTo>
                  <a:pt x="16" y="10"/>
                </a:lnTo>
                <a:lnTo>
                  <a:pt x="16" y="10"/>
                </a:lnTo>
                <a:lnTo>
                  <a:pt x="12" y="12"/>
                </a:lnTo>
                <a:lnTo>
                  <a:pt x="8" y="16"/>
                </a:lnTo>
                <a:lnTo>
                  <a:pt x="8" y="16"/>
                </a:lnTo>
                <a:lnTo>
                  <a:pt x="8" y="24"/>
                </a:lnTo>
                <a:lnTo>
                  <a:pt x="8" y="28"/>
                </a:lnTo>
                <a:lnTo>
                  <a:pt x="10" y="32"/>
                </a:lnTo>
                <a:lnTo>
                  <a:pt x="10" y="32"/>
                </a:lnTo>
                <a:lnTo>
                  <a:pt x="14" y="32"/>
                </a:lnTo>
                <a:lnTo>
                  <a:pt x="16" y="32"/>
                </a:lnTo>
                <a:lnTo>
                  <a:pt x="16" y="32"/>
                </a:lnTo>
                <a:lnTo>
                  <a:pt x="20" y="28"/>
                </a:lnTo>
                <a:lnTo>
                  <a:pt x="22" y="22"/>
                </a:lnTo>
                <a:lnTo>
                  <a:pt x="24" y="10"/>
                </a:lnTo>
                <a:lnTo>
                  <a:pt x="24" y="10"/>
                </a:lnTo>
                <a:lnTo>
                  <a:pt x="26" y="6"/>
                </a:lnTo>
                <a:lnTo>
                  <a:pt x="30" y="2"/>
                </a:lnTo>
                <a:lnTo>
                  <a:pt x="30" y="2"/>
                </a:lnTo>
                <a:lnTo>
                  <a:pt x="40" y="2"/>
                </a:lnTo>
                <a:lnTo>
                  <a:pt x="44" y="4"/>
                </a:lnTo>
                <a:lnTo>
                  <a:pt x="46" y="6"/>
                </a:lnTo>
                <a:lnTo>
                  <a:pt x="46" y="6"/>
                </a:lnTo>
                <a:lnTo>
                  <a:pt x="50" y="12"/>
                </a:lnTo>
                <a:lnTo>
                  <a:pt x="52" y="18"/>
                </a:lnTo>
                <a:lnTo>
                  <a:pt x="52" y="26"/>
                </a:lnTo>
                <a:lnTo>
                  <a:pt x="50" y="32"/>
                </a:lnTo>
                <a:lnTo>
                  <a:pt x="50" y="32"/>
                </a:lnTo>
                <a:lnTo>
                  <a:pt x="48" y="36"/>
                </a:lnTo>
                <a:lnTo>
                  <a:pt x="46" y="38"/>
                </a:lnTo>
                <a:lnTo>
                  <a:pt x="38" y="42"/>
                </a:lnTo>
                <a:lnTo>
                  <a:pt x="36" y="32"/>
                </a:lnTo>
                <a:lnTo>
                  <a:pt x="38" y="32"/>
                </a:lnTo>
                <a:lnTo>
                  <a:pt x="38" y="3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27" name="Freeform 403"/>
          <p:cNvSpPr>
            <a:spLocks/>
          </p:cNvSpPr>
          <p:nvPr/>
        </p:nvSpPr>
        <p:spPr bwMode="gray">
          <a:xfrm>
            <a:off x="9259358" y="304800"/>
            <a:ext cx="41275" cy="14288"/>
          </a:xfrm>
          <a:custGeom>
            <a:avLst/>
            <a:gdLst>
              <a:gd name="T0" fmla="*/ 54 w 54"/>
              <a:gd name="T1" fmla="*/ 2 h 20"/>
              <a:gd name="T2" fmla="*/ 54 w 54"/>
              <a:gd name="T3" fmla="*/ 2 h 20"/>
              <a:gd name="T4" fmla="*/ 52 w 54"/>
              <a:gd name="T5" fmla="*/ 10 h 20"/>
              <a:gd name="T6" fmla="*/ 48 w 54"/>
              <a:gd name="T7" fmla="*/ 16 h 20"/>
              <a:gd name="T8" fmla="*/ 48 w 54"/>
              <a:gd name="T9" fmla="*/ 16 h 20"/>
              <a:gd name="T10" fmla="*/ 42 w 54"/>
              <a:gd name="T11" fmla="*/ 18 h 20"/>
              <a:gd name="T12" fmla="*/ 36 w 54"/>
              <a:gd name="T13" fmla="*/ 20 h 20"/>
              <a:gd name="T14" fmla="*/ 0 w 54"/>
              <a:gd name="T15" fmla="*/ 14 h 20"/>
              <a:gd name="T16" fmla="*/ 2 w 54"/>
              <a:gd name="T17" fmla="*/ 4 h 20"/>
              <a:gd name="T18" fmla="*/ 38 w 54"/>
              <a:gd name="T19" fmla="*/ 8 h 20"/>
              <a:gd name="T20" fmla="*/ 38 w 54"/>
              <a:gd name="T21" fmla="*/ 8 h 20"/>
              <a:gd name="T22" fmla="*/ 42 w 54"/>
              <a:gd name="T23" fmla="*/ 8 h 20"/>
              <a:gd name="T24" fmla="*/ 46 w 54"/>
              <a:gd name="T25" fmla="*/ 4 h 20"/>
              <a:gd name="T26" fmla="*/ 46 w 54"/>
              <a:gd name="T27" fmla="*/ 4 h 20"/>
              <a:gd name="T28" fmla="*/ 46 w 54"/>
              <a:gd name="T29" fmla="*/ 0 h 20"/>
              <a:gd name="T30" fmla="*/ 54 w 54"/>
              <a:gd name="T31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4" h="20">
                <a:moveTo>
                  <a:pt x="54" y="2"/>
                </a:moveTo>
                <a:lnTo>
                  <a:pt x="54" y="2"/>
                </a:lnTo>
                <a:lnTo>
                  <a:pt x="52" y="10"/>
                </a:lnTo>
                <a:lnTo>
                  <a:pt x="48" y="16"/>
                </a:lnTo>
                <a:lnTo>
                  <a:pt x="48" y="16"/>
                </a:lnTo>
                <a:lnTo>
                  <a:pt x="42" y="18"/>
                </a:lnTo>
                <a:lnTo>
                  <a:pt x="36" y="20"/>
                </a:lnTo>
                <a:lnTo>
                  <a:pt x="0" y="14"/>
                </a:lnTo>
                <a:lnTo>
                  <a:pt x="2" y="4"/>
                </a:lnTo>
                <a:lnTo>
                  <a:pt x="38" y="8"/>
                </a:lnTo>
                <a:lnTo>
                  <a:pt x="38" y="8"/>
                </a:lnTo>
                <a:lnTo>
                  <a:pt x="42" y="8"/>
                </a:lnTo>
                <a:lnTo>
                  <a:pt x="46" y="4"/>
                </a:lnTo>
                <a:lnTo>
                  <a:pt x="46" y="4"/>
                </a:lnTo>
                <a:lnTo>
                  <a:pt x="46" y="0"/>
                </a:lnTo>
                <a:lnTo>
                  <a:pt x="54" y="2"/>
                </a:lnTo>
                <a:close/>
              </a:path>
            </a:pathLst>
          </a:custGeom>
          <a:solidFill>
            <a:srgbClr val="7170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28" name="Freeform 404"/>
          <p:cNvSpPr>
            <a:spLocks/>
          </p:cNvSpPr>
          <p:nvPr/>
        </p:nvSpPr>
        <p:spPr bwMode="gray">
          <a:xfrm>
            <a:off x="9259358" y="304800"/>
            <a:ext cx="41275" cy="14288"/>
          </a:xfrm>
          <a:custGeom>
            <a:avLst/>
            <a:gdLst>
              <a:gd name="T0" fmla="*/ 54 w 54"/>
              <a:gd name="T1" fmla="*/ 2 h 20"/>
              <a:gd name="T2" fmla="*/ 54 w 54"/>
              <a:gd name="T3" fmla="*/ 2 h 20"/>
              <a:gd name="T4" fmla="*/ 52 w 54"/>
              <a:gd name="T5" fmla="*/ 10 h 20"/>
              <a:gd name="T6" fmla="*/ 48 w 54"/>
              <a:gd name="T7" fmla="*/ 16 h 20"/>
              <a:gd name="T8" fmla="*/ 48 w 54"/>
              <a:gd name="T9" fmla="*/ 16 h 20"/>
              <a:gd name="T10" fmla="*/ 42 w 54"/>
              <a:gd name="T11" fmla="*/ 18 h 20"/>
              <a:gd name="T12" fmla="*/ 36 w 54"/>
              <a:gd name="T13" fmla="*/ 20 h 20"/>
              <a:gd name="T14" fmla="*/ 0 w 54"/>
              <a:gd name="T15" fmla="*/ 14 h 20"/>
              <a:gd name="T16" fmla="*/ 2 w 54"/>
              <a:gd name="T17" fmla="*/ 4 h 20"/>
              <a:gd name="T18" fmla="*/ 38 w 54"/>
              <a:gd name="T19" fmla="*/ 8 h 20"/>
              <a:gd name="T20" fmla="*/ 38 w 54"/>
              <a:gd name="T21" fmla="*/ 8 h 20"/>
              <a:gd name="T22" fmla="*/ 42 w 54"/>
              <a:gd name="T23" fmla="*/ 8 h 20"/>
              <a:gd name="T24" fmla="*/ 46 w 54"/>
              <a:gd name="T25" fmla="*/ 4 h 20"/>
              <a:gd name="T26" fmla="*/ 46 w 54"/>
              <a:gd name="T27" fmla="*/ 4 h 20"/>
              <a:gd name="T28" fmla="*/ 46 w 54"/>
              <a:gd name="T29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4" h="20">
                <a:moveTo>
                  <a:pt x="54" y="2"/>
                </a:moveTo>
                <a:lnTo>
                  <a:pt x="54" y="2"/>
                </a:lnTo>
                <a:lnTo>
                  <a:pt x="52" y="10"/>
                </a:lnTo>
                <a:lnTo>
                  <a:pt x="48" y="16"/>
                </a:lnTo>
                <a:lnTo>
                  <a:pt x="48" y="16"/>
                </a:lnTo>
                <a:lnTo>
                  <a:pt x="42" y="18"/>
                </a:lnTo>
                <a:lnTo>
                  <a:pt x="36" y="20"/>
                </a:lnTo>
                <a:lnTo>
                  <a:pt x="0" y="14"/>
                </a:lnTo>
                <a:lnTo>
                  <a:pt x="2" y="4"/>
                </a:lnTo>
                <a:lnTo>
                  <a:pt x="38" y="8"/>
                </a:lnTo>
                <a:lnTo>
                  <a:pt x="38" y="8"/>
                </a:lnTo>
                <a:lnTo>
                  <a:pt x="42" y="8"/>
                </a:lnTo>
                <a:lnTo>
                  <a:pt x="46" y="4"/>
                </a:lnTo>
                <a:lnTo>
                  <a:pt x="46" y="4"/>
                </a:lnTo>
                <a:lnTo>
                  <a:pt x="46" y="0"/>
                </a:lnTo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29" name="Freeform 405"/>
          <p:cNvSpPr>
            <a:spLocks/>
          </p:cNvSpPr>
          <p:nvPr/>
        </p:nvSpPr>
        <p:spPr bwMode="gray">
          <a:xfrm>
            <a:off x="9264519" y="285750"/>
            <a:ext cx="36115" cy="20638"/>
          </a:xfrm>
          <a:custGeom>
            <a:avLst/>
            <a:gdLst>
              <a:gd name="T0" fmla="*/ 48 w 48"/>
              <a:gd name="T1" fmla="*/ 28 h 28"/>
              <a:gd name="T2" fmla="*/ 48 w 48"/>
              <a:gd name="T3" fmla="*/ 28 h 28"/>
              <a:gd name="T4" fmla="*/ 48 w 48"/>
              <a:gd name="T5" fmla="*/ 20 h 28"/>
              <a:gd name="T6" fmla="*/ 46 w 48"/>
              <a:gd name="T7" fmla="*/ 12 h 28"/>
              <a:gd name="T8" fmla="*/ 46 w 48"/>
              <a:gd name="T9" fmla="*/ 12 h 28"/>
              <a:gd name="T10" fmla="*/ 42 w 48"/>
              <a:gd name="T11" fmla="*/ 8 h 28"/>
              <a:gd name="T12" fmla="*/ 36 w 48"/>
              <a:gd name="T13" fmla="*/ 6 h 28"/>
              <a:gd name="T14" fmla="*/ 2 w 48"/>
              <a:gd name="T15" fmla="*/ 0 h 28"/>
              <a:gd name="T16" fmla="*/ 0 w 48"/>
              <a:gd name="T17" fmla="*/ 10 h 28"/>
              <a:gd name="T18" fmla="*/ 36 w 48"/>
              <a:gd name="T19" fmla="*/ 16 h 28"/>
              <a:gd name="T20" fmla="*/ 36 w 48"/>
              <a:gd name="T21" fmla="*/ 16 h 28"/>
              <a:gd name="T22" fmla="*/ 38 w 48"/>
              <a:gd name="T23" fmla="*/ 18 h 28"/>
              <a:gd name="T24" fmla="*/ 40 w 48"/>
              <a:gd name="T25" fmla="*/ 22 h 28"/>
              <a:gd name="T26" fmla="*/ 40 w 48"/>
              <a:gd name="T27" fmla="*/ 22 h 28"/>
              <a:gd name="T28" fmla="*/ 40 w 48"/>
              <a:gd name="T29" fmla="*/ 26 h 28"/>
              <a:gd name="T30" fmla="*/ 48 w 48"/>
              <a:gd name="T31" fmla="*/ 28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8" h="28">
                <a:moveTo>
                  <a:pt x="48" y="28"/>
                </a:moveTo>
                <a:lnTo>
                  <a:pt x="48" y="28"/>
                </a:lnTo>
                <a:lnTo>
                  <a:pt x="48" y="20"/>
                </a:lnTo>
                <a:lnTo>
                  <a:pt x="46" y="12"/>
                </a:lnTo>
                <a:lnTo>
                  <a:pt x="46" y="12"/>
                </a:lnTo>
                <a:lnTo>
                  <a:pt x="42" y="8"/>
                </a:lnTo>
                <a:lnTo>
                  <a:pt x="36" y="6"/>
                </a:lnTo>
                <a:lnTo>
                  <a:pt x="2" y="0"/>
                </a:lnTo>
                <a:lnTo>
                  <a:pt x="0" y="10"/>
                </a:lnTo>
                <a:lnTo>
                  <a:pt x="36" y="16"/>
                </a:lnTo>
                <a:lnTo>
                  <a:pt x="36" y="16"/>
                </a:lnTo>
                <a:lnTo>
                  <a:pt x="38" y="18"/>
                </a:lnTo>
                <a:lnTo>
                  <a:pt x="40" y="22"/>
                </a:lnTo>
                <a:lnTo>
                  <a:pt x="40" y="22"/>
                </a:lnTo>
                <a:lnTo>
                  <a:pt x="40" y="26"/>
                </a:lnTo>
                <a:lnTo>
                  <a:pt x="48" y="28"/>
                </a:lnTo>
                <a:close/>
              </a:path>
            </a:pathLst>
          </a:custGeom>
          <a:solidFill>
            <a:srgbClr val="7170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30" name="Freeform 406"/>
          <p:cNvSpPr>
            <a:spLocks/>
          </p:cNvSpPr>
          <p:nvPr/>
        </p:nvSpPr>
        <p:spPr bwMode="gray">
          <a:xfrm>
            <a:off x="9264519" y="285750"/>
            <a:ext cx="36115" cy="20638"/>
          </a:xfrm>
          <a:custGeom>
            <a:avLst/>
            <a:gdLst>
              <a:gd name="T0" fmla="*/ 48 w 48"/>
              <a:gd name="T1" fmla="*/ 28 h 28"/>
              <a:gd name="T2" fmla="*/ 48 w 48"/>
              <a:gd name="T3" fmla="*/ 28 h 28"/>
              <a:gd name="T4" fmla="*/ 48 w 48"/>
              <a:gd name="T5" fmla="*/ 20 h 28"/>
              <a:gd name="T6" fmla="*/ 46 w 48"/>
              <a:gd name="T7" fmla="*/ 12 h 28"/>
              <a:gd name="T8" fmla="*/ 46 w 48"/>
              <a:gd name="T9" fmla="*/ 12 h 28"/>
              <a:gd name="T10" fmla="*/ 42 w 48"/>
              <a:gd name="T11" fmla="*/ 8 h 28"/>
              <a:gd name="T12" fmla="*/ 36 w 48"/>
              <a:gd name="T13" fmla="*/ 6 h 28"/>
              <a:gd name="T14" fmla="*/ 2 w 48"/>
              <a:gd name="T15" fmla="*/ 0 h 28"/>
              <a:gd name="T16" fmla="*/ 0 w 48"/>
              <a:gd name="T17" fmla="*/ 10 h 28"/>
              <a:gd name="T18" fmla="*/ 36 w 48"/>
              <a:gd name="T19" fmla="*/ 16 h 28"/>
              <a:gd name="T20" fmla="*/ 36 w 48"/>
              <a:gd name="T21" fmla="*/ 16 h 28"/>
              <a:gd name="T22" fmla="*/ 38 w 48"/>
              <a:gd name="T23" fmla="*/ 18 h 28"/>
              <a:gd name="T24" fmla="*/ 40 w 48"/>
              <a:gd name="T25" fmla="*/ 22 h 28"/>
              <a:gd name="T26" fmla="*/ 40 w 48"/>
              <a:gd name="T27" fmla="*/ 22 h 28"/>
              <a:gd name="T28" fmla="*/ 40 w 48"/>
              <a:gd name="T29" fmla="*/ 2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8" h="28">
                <a:moveTo>
                  <a:pt x="48" y="28"/>
                </a:moveTo>
                <a:lnTo>
                  <a:pt x="48" y="28"/>
                </a:lnTo>
                <a:lnTo>
                  <a:pt x="48" y="20"/>
                </a:lnTo>
                <a:lnTo>
                  <a:pt x="46" y="12"/>
                </a:lnTo>
                <a:lnTo>
                  <a:pt x="46" y="12"/>
                </a:lnTo>
                <a:lnTo>
                  <a:pt x="42" y="8"/>
                </a:lnTo>
                <a:lnTo>
                  <a:pt x="36" y="6"/>
                </a:lnTo>
                <a:lnTo>
                  <a:pt x="2" y="0"/>
                </a:lnTo>
                <a:lnTo>
                  <a:pt x="0" y="10"/>
                </a:lnTo>
                <a:lnTo>
                  <a:pt x="36" y="16"/>
                </a:lnTo>
                <a:lnTo>
                  <a:pt x="36" y="16"/>
                </a:lnTo>
                <a:lnTo>
                  <a:pt x="38" y="18"/>
                </a:lnTo>
                <a:lnTo>
                  <a:pt x="40" y="22"/>
                </a:lnTo>
                <a:lnTo>
                  <a:pt x="40" y="22"/>
                </a:lnTo>
                <a:lnTo>
                  <a:pt x="4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31" name="Freeform 407"/>
          <p:cNvSpPr>
            <a:spLocks noEditPoints="1"/>
          </p:cNvSpPr>
          <p:nvPr/>
        </p:nvSpPr>
        <p:spPr bwMode="gray">
          <a:xfrm>
            <a:off x="9338469" y="152401"/>
            <a:ext cx="39556" cy="41275"/>
          </a:xfrm>
          <a:custGeom>
            <a:avLst/>
            <a:gdLst>
              <a:gd name="T0" fmla="*/ 8 w 50"/>
              <a:gd name="T1" fmla="*/ 0 h 58"/>
              <a:gd name="T2" fmla="*/ 0 w 50"/>
              <a:gd name="T3" fmla="*/ 6 h 58"/>
              <a:gd name="T4" fmla="*/ 10 w 50"/>
              <a:gd name="T5" fmla="*/ 58 h 58"/>
              <a:gd name="T6" fmla="*/ 18 w 50"/>
              <a:gd name="T7" fmla="*/ 52 h 58"/>
              <a:gd name="T8" fmla="*/ 16 w 50"/>
              <a:gd name="T9" fmla="*/ 42 h 58"/>
              <a:gd name="T10" fmla="*/ 32 w 50"/>
              <a:gd name="T11" fmla="*/ 32 h 58"/>
              <a:gd name="T12" fmla="*/ 40 w 50"/>
              <a:gd name="T13" fmla="*/ 40 h 58"/>
              <a:gd name="T14" fmla="*/ 50 w 50"/>
              <a:gd name="T15" fmla="*/ 34 h 58"/>
              <a:gd name="T16" fmla="*/ 8 w 50"/>
              <a:gd name="T17" fmla="*/ 0 h 58"/>
              <a:gd name="T18" fmla="*/ 8 w 50"/>
              <a:gd name="T19" fmla="*/ 0 h 58"/>
              <a:gd name="T20" fmla="*/ 14 w 50"/>
              <a:gd name="T21" fmla="*/ 32 h 58"/>
              <a:gd name="T22" fmla="*/ 8 w 50"/>
              <a:gd name="T23" fmla="*/ 12 h 58"/>
              <a:gd name="T24" fmla="*/ 8 w 50"/>
              <a:gd name="T25" fmla="*/ 12 h 58"/>
              <a:gd name="T26" fmla="*/ 8 w 50"/>
              <a:gd name="T27" fmla="*/ 12 h 58"/>
              <a:gd name="T28" fmla="*/ 8 w 50"/>
              <a:gd name="T29" fmla="*/ 12 h 58"/>
              <a:gd name="T30" fmla="*/ 8 w 50"/>
              <a:gd name="T31" fmla="*/ 12 h 58"/>
              <a:gd name="T32" fmla="*/ 26 w 50"/>
              <a:gd name="T33" fmla="*/ 26 h 58"/>
              <a:gd name="T34" fmla="*/ 14 w 50"/>
              <a:gd name="T35" fmla="*/ 32 h 58"/>
              <a:gd name="T36" fmla="*/ 14 w 50"/>
              <a:gd name="T37" fmla="*/ 32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0" h="58">
                <a:moveTo>
                  <a:pt x="8" y="0"/>
                </a:moveTo>
                <a:lnTo>
                  <a:pt x="0" y="6"/>
                </a:lnTo>
                <a:lnTo>
                  <a:pt x="10" y="58"/>
                </a:lnTo>
                <a:lnTo>
                  <a:pt x="18" y="52"/>
                </a:lnTo>
                <a:lnTo>
                  <a:pt x="16" y="42"/>
                </a:lnTo>
                <a:lnTo>
                  <a:pt x="32" y="32"/>
                </a:lnTo>
                <a:lnTo>
                  <a:pt x="40" y="40"/>
                </a:lnTo>
                <a:lnTo>
                  <a:pt x="50" y="34"/>
                </a:lnTo>
                <a:lnTo>
                  <a:pt x="8" y="0"/>
                </a:lnTo>
                <a:lnTo>
                  <a:pt x="8" y="0"/>
                </a:lnTo>
                <a:close/>
                <a:moveTo>
                  <a:pt x="14" y="32"/>
                </a:moveTo>
                <a:lnTo>
                  <a:pt x="8" y="12"/>
                </a:lnTo>
                <a:lnTo>
                  <a:pt x="8" y="12"/>
                </a:lnTo>
                <a:lnTo>
                  <a:pt x="8" y="12"/>
                </a:lnTo>
                <a:lnTo>
                  <a:pt x="8" y="12"/>
                </a:lnTo>
                <a:lnTo>
                  <a:pt x="8" y="12"/>
                </a:lnTo>
                <a:lnTo>
                  <a:pt x="26" y="26"/>
                </a:lnTo>
                <a:lnTo>
                  <a:pt x="14" y="32"/>
                </a:lnTo>
                <a:lnTo>
                  <a:pt x="14" y="3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32" name="Freeform 408"/>
          <p:cNvSpPr>
            <a:spLocks/>
          </p:cNvSpPr>
          <p:nvPr/>
        </p:nvSpPr>
        <p:spPr bwMode="gray">
          <a:xfrm>
            <a:off x="9501850" y="142876"/>
            <a:ext cx="41275" cy="42863"/>
          </a:xfrm>
          <a:custGeom>
            <a:avLst/>
            <a:gdLst>
              <a:gd name="T0" fmla="*/ 42 w 54"/>
              <a:gd name="T1" fmla="*/ 30 h 60"/>
              <a:gd name="T2" fmla="*/ 22 w 54"/>
              <a:gd name="T3" fmla="*/ 22 h 60"/>
              <a:gd name="T4" fmla="*/ 26 w 54"/>
              <a:gd name="T5" fmla="*/ 12 h 60"/>
              <a:gd name="T6" fmla="*/ 50 w 54"/>
              <a:gd name="T7" fmla="*/ 22 h 60"/>
              <a:gd name="T8" fmla="*/ 54 w 54"/>
              <a:gd name="T9" fmla="*/ 14 h 60"/>
              <a:gd name="T10" fmla="*/ 18 w 54"/>
              <a:gd name="T11" fmla="*/ 0 h 60"/>
              <a:gd name="T12" fmla="*/ 0 w 54"/>
              <a:gd name="T13" fmla="*/ 46 h 60"/>
              <a:gd name="T14" fmla="*/ 34 w 54"/>
              <a:gd name="T15" fmla="*/ 60 h 60"/>
              <a:gd name="T16" fmla="*/ 36 w 54"/>
              <a:gd name="T17" fmla="*/ 54 h 60"/>
              <a:gd name="T18" fmla="*/ 12 w 54"/>
              <a:gd name="T19" fmla="*/ 42 h 60"/>
              <a:gd name="T20" fmla="*/ 18 w 54"/>
              <a:gd name="T21" fmla="*/ 30 h 60"/>
              <a:gd name="T22" fmla="*/ 40 w 54"/>
              <a:gd name="T23" fmla="*/ 38 h 60"/>
              <a:gd name="T24" fmla="*/ 42 w 54"/>
              <a:gd name="T25" fmla="*/ 30 h 60"/>
              <a:gd name="T26" fmla="*/ 42 w 54"/>
              <a:gd name="T27" fmla="*/ 3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" h="60">
                <a:moveTo>
                  <a:pt x="42" y="30"/>
                </a:moveTo>
                <a:lnTo>
                  <a:pt x="22" y="22"/>
                </a:lnTo>
                <a:lnTo>
                  <a:pt x="26" y="12"/>
                </a:lnTo>
                <a:lnTo>
                  <a:pt x="50" y="22"/>
                </a:lnTo>
                <a:lnTo>
                  <a:pt x="54" y="14"/>
                </a:lnTo>
                <a:lnTo>
                  <a:pt x="18" y="0"/>
                </a:lnTo>
                <a:lnTo>
                  <a:pt x="0" y="46"/>
                </a:lnTo>
                <a:lnTo>
                  <a:pt x="34" y="60"/>
                </a:lnTo>
                <a:lnTo>
                  <a:pt x="36" y="54"/>
                </a:lnTo>
                <a:lnTo>
                  <a:pt x="12" y="42"/>
                </a:lnTo>
                <a:lnTo>
                  <a:pt x="18" y="30"/>
                </a:lnTo>
                <a:lnTo>
                  <a:pt x="40" y="38"/>
                </a:lnTo>
                <a:lnTo>
                  <a:pt x="42" y="30"/>
                </a:lnTo>
                <a:lnTo>
                  <a:pt x="42" y="3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33" name="Freeform 409"/>
          <p:cNvSpPr>
            <a:spLocks noEditPoints="1"/>
          </p:cNvSpPr>
          <p:nvPr/>
        </p:nvSpPr>
        <p:spPr bwMode="gray">
          <a:xfrm>
            <a:off x="9269678" y="234951"/>
            <a:ext cx="46435" cy="34925"/>
          </a:xfrm>
          <a:custGeom>
            <a:avLst/>
            <a:gdLst>
              <a:gd name="T0" fmla="*/ 34 w 60"/>
              <a:gd name="T1" fmla="*/ 12 h 48"/>
              <a:gd name="T2" fmla="*/ 34 w 60"/>
              <a:gd name="T3" fmla="*/ 12 h 48"/>
              <a:gd name="T4" fmla="*/ 34 w 60"/>
              <a:gd name="T5" fmla="*/ 8 h 48"/>
              <a:gd name="T6" fmla="*/ 32 w 60"/>
              <a:gd name="T7" fmla="*/ 4 h 48"/>
              <a:gd name="T8" fmla="*/ 32 w 60"/>
              <a:gd name="T9" fmla="*/ 4 h 48"/>
              <a:gd name="T10" fmla="*/ 26 w 60"/>
              <a:gd name="T11" fmla="*/ 0 h 48"/>
              <a:gd name="T12" fmla="*/ 20 w 60"/>
              <a:gd name="T13" fmla="*/ 0 h 48"/>
              <a:gd name="T14" fmla="*/ 20 w 60"/>
              <a:gd name="T15" fmla="*/ 0 h 48"/>
              <a:gd name="T16" fmla="*/ 16 w 60"/>
              <a:gd name="T17" fmla="*/ 0 h 48"/>
              <a:gd name="T18" fmla="*/ 12 w 60"/>
              <a:gd name="T19" fmla="*/ 2 h 48"/>
              <a:gd name="T20" fmla="*/ 8 w 60"/>
              <a:gd name="T21" fmla="*/ 10 h 48"/>
              <a:gd name="T22" fmla="*/ 0 w 60"/>
              <a:gd name="T23" fmla="*/ 34 h 48"/>
              <a:gd name="T24" fmla="*/ 48 w 60"/>
              <a:gd name="T25" fmla="*/ 48 h 48"/>
              <a:gd name="T26" fmla="*/ 52 w 60"/>
              <a:gd name="T27" fmla="*/ 38 h 48"/>
              <a:gd name="T28" fmla="*/ 32 w 60"/>
              <a:gd name="T29" fmla="*/ 32 h 48"/>
              <a:gd name="T30" fmla="*/ 32 w 60"/>
              <a:gd name="T31" fmla="*/ 32 h 48"/>
              <a:gd name="T32" fmla="*/ 32 w 60"/>
              <a:gd name="T33" fmla="*/ 32 h 48"/>
              <a:gd name="T34" fmla="*/ 36 w 60"/>
              <a:gd name="T35" fmla="*/ 20 h 48"/>
              <a:gd name="T36" fmla="*/ 36 w 60"/>
              <a:gd name="T37" fmla="*/ 20 h 48"/>
              <a:gd name="T38" fmla="*/ 38 w 60"/>
              <a:gd name="T39" fmla="*/ 18 h 48"/>
              <a:gd name="T40" fmla="*/ 40 w 60"/>
              <a:gd name="T41" fmla="*/ 18 h 48"/>
              <a:gd name="T42" fmla="*/ 46 w 60"/>
              <a:gd name="T43" fmla="*/ 18 h 48"/>
              <a:gd name="T44" fmla="*/ 52 w 60"/>
              <a:gd name="T45" fmla="*/ 20 h 48"/>
              <a:gd name="T46" fmla="*/ 58 w 60"/>
              <a:gd name="T47" fmla="*/ 20 h 48"/>
              <a:gd name="T48" fmla="*/ 60 w 60"/>
              <a:gd name="T49" fmla="*/ 10 h 48"/>
              <a:gd name="T50" fmla="*/ 60 w 60"/>
              <a:gd name="T51" fmla="*/ 10 h 48"/>
              <a:gd name="T52" fmla="*/ 54 w 60"/>
              <a:gd name="T53" fmla="*/ 10 h 48"/>
              <a:gd name="T54" fmla="*/ 46 w 60"/>
              <a:gd name="T55" fmla="*/ 8 h 48"/>
              <a:gd name="T56" fmla="*/ 40 w 60"/>
              <a:gd name="T57" fmla="*/ 8 h 48"/>
              <a:gd name="T58" fmla="*/ 36 w 60"/>
              <a:gd name="T59" fmla="*/ 10 h 48"/>
              <a:gd name="T60" fmla="*/ 34 w 60"/>
              <a:gd name="T61" fmla="*/ 12 h 48"/>
              <a:gd name="T62" fmla="*/ 34 w 60"/>
              <a:gd name="T63" fmla="*/ 12 h 48"/>
              <a:gd name="T64" fmla="*/ 24 w 60"/>
              <a:gd name="T65" fmla="*/ 30 h 48"/>
              <a:gd name="T66" fmla="*/ 12 w 60"/>
              <a:gd name="T67" fmla="*/ 26 h 48"/>
              <a:gd name="T68" fmla="*/ 12 w 60"/>
              <a:gd name="T69" fmla="*/ 26 h 48"/>
              <a:gd name="T70" fmla="*/ 16 w 60"/>
              <a:gd name="T71" fmla="*/ 14 h 48"/>
              <a:gd name="T72" fmla="*/ 18 w 60"/>
              <a:gd name="T73" fmla="*/ 10 h 48"/>
              <a:gd name="T74" fmla="*/ 22 w 60"/>
              <a:gd name="T75" fmla="*/ 10 h 48"/>
              <a:gd name="T76" fmla="*/ 22 w 60"/>
              <a:gd name="T77" fmla="*/ 10 h 48"/>
              <a:gd name="T78" fmla="*/ 24 w 60"/>
              <a:gd name="T79" fmla="*/ 10 h 48"/>
              <a:gd name="T80" fmla="*/ 28 w 60"/>
              <a:gd name="T81" fmla="*/ 12 h 48"/>
              <a:gd name="T82" fmla="*/ 28 w 60"/>
              <a:gd name="T83" fmla="*/ 12 h 48"/>
              <a:gd name="T84" fmla="*/ 28 w 60"/>
              <a:gd name="T85" fmla="*/ 16 h 48"/>
              <a:gd name="T86" fmla="*/ 28 w 60"/>
              <a:gd name="T87" fmla="*/ 20 h 48"/>
              <a:gd name="T88" fmla="*/ 24 w 60"/>
              <a:gd name="T89" fmla="*/ 30 h 48"/>
              <a:gd name="T90" fmla="*/ 24 w 60"/>
              <a:gd name="T91" fmla="*/ 3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0" h="48">
                <a:moveTo>
                  <a:pt x="34" y="12"/>
                </a:moveTo>
                <a:lnTo>
                  <a:pt x="34" y="12"/>
                </a:lnTo>
                <a:lnTo>
                  <a:pt x="34" y="8"/>
                </a:lnTo>
                <a:lnTo>
                  <a:pt x="32" y="4"/>
                </a:lnTo>
                <a:lnTo>
                  <a:pt x="32" y="4"/>
                </a:lnTo>
                <a:lnTo>
                  <a:pt x="26" y="0"/>
                </a:lnTo>
                <a:lnTo>
                  <a:pt x="20" y="0"/>
                </a:lnTo>
                <a:lnTo>
                  <a:pt x="20" y="0"/>
                </a:lnTo>
                <a:lnTo>
                  <a:pt x="16" y="0"/>
                </a:lnTo>
                <a:lnTo>
                  <a:pt x="12" y="2"/>
                </a:lnTo>
                <a:lnTo>
                  <a:pt x="8" y="10"/>
                </a:lnTo>
                <a:lnTo>
                  <a:pt x="0" y="34"/>
                </a:lnTo>
                <a:lnTo>
                  <a:pt x="48" y="48"/>
                </a:lnTo>
                <a:lnTo>
                  <a:pt x="52" y="38"/>
                </a:lnTo>
                <a:lnTo>
                  <a:pt x="32" y="32"/>
                </a:lnTo>
                <a:lnTo>
                  <a:pt x="32" y="32"/>
                </a:lnTo>
                <a:lnTo>
                  <a:pt x="32" y="32"/>
                </a:lnTo>
                <a:lnTo>
                  <a:pt x="36" y="20"/>
                </a:lnTo>
                <a:lnTo>
                  <a:pt x="36" y="20"/>
                </a:lnTo>
                <a:lnTo>
                  <a:pt x="38" y="18"/>
                </a:lnTo>
                <a:lnTo>
                  <a:pt x="40" y="18"/>
                </a:lnTo>
                <a:lnTo>
                  <a:pt x="46" y="18"/>
                </a:lnTo>
                <a:lnTo>
                  <a:pt x="52" y="20"/>
                </a:lnTo>
                <a:lnTo>
                  <a:pt x="58" y="20"/>
                </a:lnTo>
                <a:lnTo>
                  <a:pt x="60" y="10"/>
                </a:lnTo>
                <a:lnTo>
                  <a:pt x="60" y="10"/>
                </a:lnTo>
                <a:lnTo>
                  <a:pt x="54" y="10"/>
                </a:lnTo>
                <a:lnTo>
                  <a:pt x="46" y="8"/>
                </a:lnTo>
                <a:lnTo>
                  <a:pt x="40" y="8"/>
                </a:lnTo>
                <a:lnTo>
                  <a:pt x="36" y="10"/>
                </a:lnTo>
                <a:lnTo>
                  <a:pt x="34" y="12"/>
                </a:lnTo>
                <a:lnTo>
                  <a:pt x="34" y="12"/>
                </a:lnTo>
                <a:close/>
                <a:moveTo>
                  <a:pt x="24" y="30"/>
                </a:moveTo>
                <a:lnTo>
                  <a:pt x="12" y="26"/>
                </a:lnTo>
                <a:lnTo>
                  <a:pt x="12" y="26"/>
                </a:lnTo>
                <a:lnTo>
                  <a:pt x="16" y="14"/>
                </a:lnTo>
                <a:lnTo>
                  <a:pt x="18" y="10"/>
                </a:lnTo>
                <a:lnTo>
                  <a:pt x="22" y="10"/>
                </a:lnTo>
                <a:lnTo>
                  <a:pt x="22" y="10"/>
                </a:lnTo>
                <a:lnTo>
                  <a:pt x="24" y="10"/>
                </a:lnTo>
                <a:lnTo>
                  <a:pt x="28" y="12"/>
                </a:lnTo>
                <a:lnTo>
                  <a:pt x="28" y="12"/>
                </a:lnTo>
                <a:lnTo>
                  <a:pt x="28" y="16"/>
                </a:lnTo>
                <a:lnTo>
                  <a:pt x="28" y="20"/>
                </a:lnTo>
                <a:lnTo>
                  <a:pt x="24" y="30"/>
                </a:lnTo>
                <a:lnTo>
                  <a:pt x="24" y="3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34" name="Freeform 410"/>
          <p:cNvSpPr>
            <a:spLocks noEditPoints="1"/>
          </p:cNvSpPr>
          <p:nvPr/>
        </p:nvSpPr>
        <p:spPr bwMode="gray">
          <a:xfrm>
            <a:off x="9537965" y="173038"/>
            <a:ext cx="44715" cy="44450"/>
          </a:xfrm>
          <a:custGeom>
            <a:avLst/>
            <a:gdLst>
              <a:gd name="T0" fmla="*/ 40 w 58"/>
              <a:gd name="T1" fmla="*/ 0 h 62"/>
              <a:gd name="T2" fmla="*/ 0 w 58"/>
              <a:gd name="T3" fmla="*/ 30 h 62"/>
              <a:gd name="T4" fmla="*/ 6 w 58"/>
              <a:gd name="T5" fmla="*/ 38 h 62"/>
              <a:gd name="T6" fmla="*/ 22 w 58"/>
              <a:gd name="T7" fmla="*/ 26 h 62"/>
              <a:gd name="T8" fmla="*/ 22 w 58"/>
              <a:gd name="T9" fmla="*/ 26 h 62"/>
              <a:gd name="T10" fmla="*/ 22 w 58"/>
              <a:gd name="T11" fmla="*/ 26 h 62"/>
              <a:gd name="T12" fmla="*/ 30 w 58"/>
              <a:gd name="T13" fmla="*/ 36 h 62"/>
              <a:gd name="T14" fmla="*/ 30 w 58"/>
              <a:gd name="T15" fmla="*/ 36 h 62"/>
              <a:gd name="T16" fmla="*/ 30 w 58"/>
              <a:gd name="T17" fmla="*/ 40 h 62"/>
              <a:gd name="T18" fmla="*/ 30 w 58"/>
              <a:gd name="T19" fmla="*/ 42 h 62"/>
              <a:gd name="T20" fmla="*/ 26 w 58"/>
              <a:gd name="T21" fmla="*/ 46 h 62"/>
              <a:gd name="T22" fmla="*/ 22 w 58"/>
              <a:gd name="T23" fmla="*/ 50 h 62"/>
              <a:gd name="T24" fmla="*/ 18 w 58"/>
              <a:gd name="T25" fmla="*/ 54 h 62"/>
              <a:gd name="T26" fmla="*/ 24 w 58"/>
              <a:gd name="T27" fmla="*/ 62 h 62"/>
              <a:gd name="T28" fmla="*/ 24 w 58"/>
              <a:gd name="T29" fmla="*/ 62 h 62"/>
              <a:gd name="T30" fmla="*/ 28 w 58"/>
              <a:gd name="T31" fmla="*/ 58 h 62"/>
              <a:gd name="T32" fmla="*/ 34 w 58"/>
              <a:gd name="T33" fmla="*/ 52 h 62"/>
              <a:gd name="T34" fmla="*/ 38 w 58"/>
              <a:gd name="T35" fmla="*/ 48 h 62"/>
              <a:gd name="T36" fmla="*/ 38 w 58"/>
              <a:gd name="T37" fmla="*/ 44 h 62"/>
              <a:gd name="T38" fmla="*/ 38 w 58"/>
              <a:gd name="T39" fmla="*/ 40 h 62"/>
              <a:gd name="T40" fmla="*/ 38 w 58"/>
              <a:gd name="T41" fmla="*/ 40 h 62"/>
              <a:gd name="T42" fmla="*/ 42 w 58"/>
              <a:gd name="T43" fmla="*/ 42 h 62"/>
              <a:gd name="T44" fmla="*/ 48 w 58"/>
              <a:gd name="T45" fmla="*/ 42 h 62"/>
              <a:gd name="T46" fmla="*/ 48 w 58"/>
              <a:gd name="T47" fmla="*/ 42 h 62"/>
              <a:gd name="T48" fmla="*/ 52 w 58"/>
              <a:gd name="T49" fmla="*/ 40 h 62"/>
              <a:gd name="T50" fmla="*/ 56 w 58"/>
              <a:gd name="T51" fmla="*/ 36 h 62"/>
              <a:gd name="T52" fmla="*/ 56 w 58"/>
              <a:gd name="T53" fmla="*/ 36 h 62"/>
              <a:gd name="T54" fmla="*/ 58 w 58"/>
              <a:gd name="T55" fmla="*/ 32 h 62"/>
              <a:gd name="T56" fmla="*/ 58 w 58"/>
              <a:gd name="T57" fmla="*/ 28 h 62"/>
              <a:gd name="T58" fmla="*/ 56 w 58"/>
              <a:gd name="T59" fmla="*/ 20 h 62"/>
              <a:gd name="T60" fmla="*/ 40 w 58"/>
              <a:gd name="T61" fmla="*/ 0 h 62"/>
              <a:gd name="T62" fmla="*/ 40 w 58"/>
              <a:gd name="T63" fmla="*/ 0 h 62"/>
              <a:gd name="T64" fmla="*/ 48 w 58"/>
              <a:gd name="T65" fmla="*/ 32 h 62"/>
              <a:gd name="T66" fmla="*/ 48 w 58"/>
              <a:gd name="T67" fmla="*/ 32 h 62"/>
              <a:gd name="T68" fmla="*/ 44 w 58"/>
              <a:gd name="T69" fmla="*/ 34 h 62"/>
              <a:gd name="T70" fmla="*/ 42 w 58"/>
              <a:gd name="T71" fmla="*/ 34 h 62"/>
              <a:gd name="T72" fmla="*/ 42 w 58"/>
              <a:gd name="T73" fmla="*/ 34 h 62"/>
              <a:gd name="T74" fmla="*/ 38 w 58"/>
              <a:gd name="T75" fmla="*/ 34 h 62"/>
              <a:gd name="T76" fmla="*/ 36 w 58"/>
              <a:gd name="T77" fmla="*/ 30 h 62"/>
              <a:gd name="T78" fmla="*/ 30 w 58"/>
              <a:gd name="T79" fmla="*/ 22 h 62"/>
              <a:gd name="T80" fmla="*/ 40 w 58"/>
              <a:gd name="T81" fmla="*/ 14 h 62"/>
              <a:gd name="T82" fmla="*/ 40 w 58"/>
              <a:gd name="T83" fmla="*/ 14 h 62"/>
              <a:gd name="T84" fmla="*/ 46 w 58"/>
              <a:gd name="T85" fmla="*/ 24 h 62"/>
              <a:gd name="T86" fmla="*/ 48 w 58"/>
              <a:gd name="T87" fmla="*/ 28 h 62"/>
              <a:gd name="T88" fmla="*/ 48 w 58"/>
              <a:gd name="T89" fmla="*/ 32 h 62"/>
              <a:gd name="T90" fmla="*/ 48 w 58"/>
              <a:gd name="T91" fmla="*/ 32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8" h="62">
                <a:moveTo>
                  <a:pt x="40" y="0"/>
                </a:moveTo>
                <a:lnTo>
                  <a:pt x="0" y="30"/>
                </a:lnTo>
                <a:lnTo>
                  <a:pt x="6" y="38"/>
                </a:lnTo>
                <a:lnTo>
                  <a:pt x="22" y="26"/>
                </a:lnTo>
                <a:lnTo>
                  <a:pt x="22" y="26"/>
                </a:lnTo>
                <a:lnTo>
                  <a:pt x="22" y="26"/>
                </a:lnTo>
                <a:lnTo>
                  <a:pt x="30" y="36"/>
                </a:lnTo>
                <a:lnTo>
                  <a:pt x="30" y="36"/>
                </a:lnTo>
                <a:lnTo>
                  <a:pt x="30" y="40"/>
                </a:lnTo>
                <a:lnTo>
                  <a:pt x="30" y="42"/>
                </a:lnTo>
                <a:lnTo>
                  <a:pt x="26" y="46"/>
                </a:lnTo>
                <a:lnTo>
                  <a:pt x="22" y="50"/>
                </a:lnTo>
                <a:lnTo>
                  <a:pt x="18" y="54"/>
                </a:lnTo>
                <a:lnTo>
                  <a:pt x="24" y="62"/>
                </a:lnTo>
                <a:lnTo>
                  <a:pt x="24" y="62"/>
                </a:lnTo>
                <a:lnTo>
                  <a:pt x="28" y="58"/>
                </a:lnTo>
                <a:lnTo>
                  <a:pt x="34" y="52"/>
                </a:lnTo>
                <a:lnTo>
                  <a:pt x="38" y="48"/>
                </a:lnTo>
                <a:lnTo>
                  <a:pt x="38" y="44"/>
                </a:lnTo>
                <a:lnTo>
                  <a:pt x="38" y="40"/>
                </a:lnTo>
                <a:lnTo>
                  <a:pt x="38" y="40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52" y="40"/>
                </a:lnTo>
                <a:lnTo>
                  <a:pt x="56" y="36"/>
                </a:lnTo>
                <a:lnTo>
                  <a:pt x="56" y="36"/>
                </a:lnTo>
                <a:lnTo>
                  <a:pt x="58" y="32"/>
                </a:lnTo>
                <a:lnTo>
                  <a:pt x="58" y="28"/>
                </a:lnTo>
                <a:lnTo>
                  <a:pt x="56" y="20"/>
                </a:lnTo>
                <a:lnTo>
                  <a:pt x="40" y="0"/>
                </a:lnTo>
                <a:lnTo>
                  <a:pt x="40" y="0"/>
                </a:lnTo>
                <a:close/>
                <a:moveTo>
                  <a:pt x="48" y="32"/>
                </a:moveTo>
                <a:lnTo>
                  <a:pt x="48" y="32"/>
                </a:lnTo>
                <a:lnTo>
                  <a:pt x="44" y="34"/>
                </a:lnTo>
                <a:lnTo>
                  <a:pt x="42" y="34"/>
                </a:lnTo>
                <a:lnTo>
                  <a:pt x="42" y="34"/>
                </a:lnTo>
                <a:lnTo>
                  <a:pt x="38" y="34"/>
                </a:lnTo>
                <a:lnTo>
                  <a:pt x="36" y="30"/>
                </a:lnTo>
                <a:lnTo>
                  <a:pt x="30" y="22"/>
                </a:lnTo>
                <a:lnTo>
                  <a:pt x="40" y="14"/>
                </a:lnTo>
                <a:lnTo>
                  <a:pt x="40" y="14"/>
                </a:lnTo>
                <a:lnTo>
                  <a:pt x="46" y="24"/>
                </a:lnTo>
                <a:lnTo>
                  <a:pt x="48" y="28"/>
                </a:lnTo>
                <a:lnTo>
                  <a:pt x="48" y="32"/>
                </a:lnTo>
                <a:lnTo>
                  <a:pt x="48" y="3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35" name="Freeform 411"/>
          <p:cNvSpPr>
            <a:spLocks/>
          </p:cNvSpPr>
          <p:nvPr/>
        </p:nvSpPr>
        <p:spPr bwMode="gray">
          <a:xfrm>
            <a:off x="9137254" y="630238"/>
            <a:ext cx="607086" cy="80962"/>
          </a:xfrm>
          <a:custGeom>
            <a:avLst/>
            <a:gdLst>
              <a:gd name="T0" fmla="*/ 784 w 784"/>
              <a:gd name="T1" fmla="*/ 114 h 114"/>
              <a:gd name="T2" fmla="*/ 784 w 784"/>
              <a:gd name="T3" fmla="*/ 0 h 114"/>
              <a:gd name="T4" fmla="*/ 0 w 784"/>
              <a:gd name="T5" fmla="*/ 0 h 114"/>
              <a:gd name="T6" fmla="*/ 0 w 784"/>
              <a:gd name="T7" fmla="*/ 114 h 114"/>
              <a:gd name="T8" fmla="*/ 784 w 784"/>
              <a:gd name="T9" fmla="*/ 114 h 114"/>
              <a:gd name="T10" fmla="*/ 784 w 784"/>
              <a:gd name="T11" fmla="*/ 114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84" h="114">
                <a:moveTo>
                  <a:pt x="784" y="114"/>
                </a:moveTo>
                <a:lnTo>
                  <a:pt x="784" y="0"/>
                </a:lnTo>
                <a:lnTo>
                  <a:pt x="0" y="0"/>
                </a:lnTo>
                <a:lnTo>
                  <a:pt x="0" y="114"/>
                </a:lnTo>
                <a:lnTo>
                  <a:pt x="784" y="114"/>
                </a:lnTo>
                <a:lnTo>
                  <a:pt x="784" y="11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36" name="Line 412"/>
          <p:cNvSpPr>
            <a:spLocks noChangeShapeType="1"/>
          </p:cNvSpPr>
          <p:nvPr/>
        </p:nvSpPr>
        <p:spPr bwMode="gray">
          <a:xfrm>
            <a:off x="9441656" y="669925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37" name="Line 413"/>
          <p:cNvSpPr>
            <a:spLocks noChangeShapeType="1"/>
          </p:cNvSpPr>
          <p:nvPr/>
        </p:nvSpPr>
        <p:spPr bwMode="gray">
          <a:xfrm>
            <a:off x="9441656" y="669925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38" name="Freeform 414"/>
          <p:cNvSpPr>
            <a:spLocks/>
          </p:cNvSpPr>
          <p:nvPr/>
        </p:nvSpPr>
        <p:spPr bwMode="gray">
          <a:xfrm>
            <a:off x="9137254" y="723900"/>
            <a:ext cx="607086" cy="82550"/>
          </a:xfrm>
          <a:custGeom>
            <a:avLst/>
            <a:gdLst>
              <a:gd name="T0" fmla="*/ 784 w 784"/>
              <a:gd name="T1" fmla="*/ 116 h 116"/>
              <a:gd name="T2" fmla="*/ 784 w 784"/>
              <a:gd name="T3" fmla="*/ 0 h 116"/>
              <a:gd name="T4" fmla="*/ 0 w 784"/>
              <a:gd name="T5" fmla="*/ 0 h 116"/>
              <a:gd name="T6" fmla="*/ 0 w 784"/>
              <a:gd name="T7" fmla="*/ 116 h 116"/>
              <a:gd name="T8" fmla="*/ 784 w 784"/>
              <a:gd name="T9" fmla="*/ 116 h 116"/>
              <a:gd name="T10" fmla="*/ 784 w 784"/>
              <a:gd name="T11" fmla="*/ 116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84" h="116">
                <a:moveTo>
                  <a:pt x="784" y="116"/>
                </a:moveTo>
                <a:lnTo>
                  <a:pt x="784" y="0"/>
                </a:lnTo>
                <a:lnTo>
                  <a:pt x="0" y="0"/>
                </a:lnTo>
                <a:lnTo>
                  <a:pt x="0" y="116"/>
                </a:lnTo>
                <a:lnTo>
                  <a:pt x="784" y="116"/>
                </a:lnTo>
                <a:lnTo>
                  <a:pt x="784" y="116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39" name="Line 415"/>
          <p:cNvSpPr>
            <a:spLocks noChangeShapeType="1"/>
          </p:cNvSpPr>
          <p:nvPr/>
        </p:nvSpPr>
        <p:spPr bwMode="gray">
          <a:xfrm>
            <a:off x="9441656" y="765175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40" name="Line 416"/>
          <p:cNvSpPr>
            <a:spLocks noChangeShapeType="1"/>
          </p:cNvSpPr>
          <p:nvPr/>
        </p:nvSpPr>
        <p:spPr bwMode="gray">
          <a:xfrm>
            <a:off x="9441656" y="765175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41" name="Freeform 417"/>
          <p:cNvSpPr>
            <a:spLocks/>
          </p:cNvSpPr>
          <p:nvPr/>
        </p:nvSpPr>
        <p:spPr bwMode="gray">
          <a:xfrm>
            <a:off x="9283436" y="644526"/>
            <a:ext cx="46435" cy="53975"/>
          </a:xfrm>
          <a:custGeom>
            <a:avLst/>
            <a:gdLst>
              <a:gd name="T0" fmla="*/ 30 w 60"/>
              <a:gd name="T1" fmla="*/ 64 h 76"/>
              <a:gd name="T2" fmla="*/ 30 w 60"/>
              <a:gd name="T3" fmla="*/ 64 h 76"/>
              <a:gd name="T4" fmla="*/ 36 w 60"/>
              <a:gd name="T5" fmla="*/ 62 h 76"/>
              <a:gd name="T6" fmla="*/ 36 w 60"/>
              <a:gd name="T7" fmla="*/ 62 h 76"/>
              <a:gd name="T8" fmla="*/ 42 w 60"/>
              <a:gd name="T9" fmla="*/ 60 h 76"/>
              <a:gd name="T10" fmla="*/ 44 w 60"/>
              <a:gd name="T11" fmla="*/ 54 h 76"/>
              <a:gd name="T12" fmla="*/ 44 w 60"/>
              <a:gd name="T13" fmla="*/ 0 h 76"/>
              <a:gd name="T14" fmla="*/ 60 w 60"/>
              <a:gd name="T15" fmla="*/ 0 h 76"/>
              <a:gd name="T16" fmla="*/ 60 w 60"/>
              <a:gd name="T17" fmla="*/ 54 h 76"/>
              <a:gd name="T18" fmla="*/ 60 w 60"/>
              <a:gd name="T19" fmla="*/ 54 h 76"/>
              <a:gd name="T20" fmla="*/ 58 w 60"/>
              <a:gd name="T21" fmla="*/ 62 h 76"/>
              <a:gd name="T22" fmla="*/ 52 w 60"/>
              <a:gd name="T23" fmla="*/ 68 h 76"/>
              <a:gd name="T24" fmla="*/ 52 w 60"/>
              <a:gd name="T25" fmla="*/ 68 h 76"/>
              <a:gd name="T26" fmla="*/ 48 w 60"/>
              <a:gd name="T27" fmla="*/ 72 h 76"/>
              <a:gd name="T28" fmla="*/ 42 w 60"/>
              <a:gd name="T29" fmla="*/ 74 h 76"/>
              <a:gd name="T30" fmla="*/ 30 w 60"/>
              <a:gd name="T31" fmla="*/ 76 h 76"/>
              <a:gd name="T32" fmla="*/ 28 w 60"/>
              <a:gd name="T33" fmla="*/ 76 h 76"/>
              <a:gd name="T34" fmla="*/ 28 w 60"/>
              <a:gd name="T35" fmla="*/ 76 h 76"/>
              <a:gd name="T36" fmla="*/ 16 w 60"/>
              <a:gd name="T37" fmla="*/ 74 h 76"/>
              <a:gd name="T38" fmla="*/ 12 w 60"/>
              <a:gd name="T39" fmla="*/ 72 h 76"/>
              <a:gd name="T40" fmla="*/ 6 w 60"/>
              <a:gd name="T41" fmla="*/ 68 h 76"/>
              <a:gd name="T42" fmla="*/ 6 w 60"/>
              <a:gd name="T43" fmla="*/ 68 h 76"/>
              <a:gd name="T44" fmla="*/ 0 w 60"/>
              <a:gd name="T45" fmla="*/ 62 h 76"/>
              <a:gd name="T46" fmla="*/ 0 w 60"/>
              <a:gd name="T47" fmla="*/ 54 h 76"/>
              <a:gd name="T48" fmla="*/ 0 w 60"/>
              <a:gd name="T49" fmla="*/ 0 h 76"/>
              <a:gd name="T50" fmla="*/ 14 w 60"/>
              <a:gd name="T51" fmla="*/ 0 h 76"/>
              <a:gd name="T52" fmla="*/ 14 w 60"/>
              <a:gd name="T53" fmla="*/ 54 h 76"/>
              <a:gd name="T54" fmla="*/ 14 w 60"/>
              <a:gd name="T55" fmla="*/ 54 h 76"/>
              <a:gd name="T56" fmla="*/ 16 w 60"/>
              <a:gd name="T57" fmla="*/ 60 h 76"/>
              <a:gd name="T58" fmla="*/ 22 w 60"/>
              <a:gd name="T59" fmla="*/ 62 h 76"/>
              <a:gd name="T60" fmla="*/ 22 w 60"/>
              <a:gd name="T61" fmla="*/ 62 h 76"/>
              <a:gd name="T62" fmla="*/ 30 w 60"/>
              <a:gd name="T63" fmla="*/ 6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0" h="76">
                <a:moveTo>
                  <a:pt x="30" y="64"/>
                </a:moveTo>
                <a:lnTo>
                  <a:pt x="30" y="64"/>
                </a:lnTo>
                <a:lnTo>
                  <a:pt x="36" y="62"/>
                </a:lnTo>
                <a:lnTo>
                  <a:pt x="36" y="62"/>
                </a:lnTo>
                <a:lnTo>
                  <a:pt x="42" y="60"/>
                </a:lnTo>
                <a:lnTo>
                  <a:pt x="44" y="54"/>
                </a:lnTo>
                <a:lnTo>
                  <a:pt x="44" y="0"/>
                </a:lnTo>
                <a:lnTo>
                  <a:pt x="60" y="0"/>
                </a:lnTo>
                <a:lnTo>
                  <a:pt x="60" y="54"/>
                </a:lnTo>
                <a:lnTo>
                  <a:pt x="60" y="54"/>
                </a:lnTo>
                <a:lnTo>
                  <a:pt x="58" y="62"/>
                </a:lnTo>
                <a:lnTo>
                  <a:pt x="52" y="68"/>
                </a:lnTo>
                <a:lnTo>
                  <a:pt x="52" y="68"/>
                </a:lnTo>
                <a:lnTo>
                  <a:pt x="48" y="72"/>
                </a:lnTo>
                <a:lnTo>
                  <a:pt x="42" y="74"/>
                </a:lnTo>
                <a:lnTo>
                  <a:pt x="30" y="76"/>
                </a:lnTo>
                <a:lnTo>
                  <a:pt x="28" y="76"/>
                </a:lnTo>
                <a:lnTo>
                  <a:pt x="28" y="76"/>
                </a:lnTo>
                <a:lnTo>
                  <a:pt x="16" y="74"/>
                </a:lnTo>
                <a:lnTo>
                  <a:pt x="12" y="72"/>
                </a:lnTo>
                <a:lnTo>
                  <a:pt x="6" y="68"/>
                </a:lnTo>
                <a:lnTo>
                  <a:pt x="6" y="68"/>
                </a:lnTo>
                <a:lnTo>
                  <a:pt x="0" y="62"/>
                </a:lnTo>
                <a:lnTo>
                  <a:pt x="0" y="54"/>
                </a:lnTo>
                <a:lnTo>
                  <a:pt x="0" y="0"/>
                </a:lnTo>
                <a:lnTo>
                  <a:pt x="14" y="0"/>
                </a:lnTo>
                <a:lnTo>
                  <a:pt x="14" y="54"/>
                </a:lnTo>
                <a:lnTo>
                  <a:pt x="14" y="54"/>
                </a:lnTo>
                <a:lnTo>
                  <a:pt x="16" y="60"/>
                </a:lnTo>
                <a:lnTo>
                  <a:pt x="22" y="62"/>
                </a:lnTo>
                <a:lnTo>
                  <a:pt x="22" y="62"/>
                </a:lnTo>
                <a:lnTo>
                  <a:pt x="30" y="6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42" name="Freeform 418"/>
          <p:cNvSpPr>
            <a:spLocks/>
          </p:cNvSpPr>
          <p:nvPr/>
        </p:nvSpPr>
        <p:spPr bwMode="gray">
          <a:xfrm>
            <a:off x="9283436" y="644526"/>
            <a:ext cx="46435" cy="53975"/>
          </a:xfrm>
          <a:custGeom>
            <a:avLst/>
            <a:gdLst>
              <a:gd name="T0" fmla="*/ 30 w 60"/>
              <a:gd name="T1" fmla="*/ 64 h 76"/>
              <a:gd name="T2" fmla="*/ 30 w 60"/>
              <a:gd name="T3" fmla="*/ 64 h 76"/>
              <a:gd name="T4" fmla="*/ 36 w 60"/>
              <a:gd name="T5" fmla="*/ 62 h 76"/>
              <a:gd name="T6" fmla="*/ 36 w 60"/>
              <a:gd name="T7" fmla="*/ 62 h 76"/>
              <a:gd name="T8" fmla="*/ 42 w 60"/>
              <a:gd name="T9" fmla="*/ 60 h 76"/>
              <a:gd name="T10" fmla="*/ 44 w 60"/>
              <a:gd name="T11" fmla="*/ 54 h 76"/>
              <a:gd name="T12" fmla="*/ 44 w 60"/>
              <a:gd name="T13" fmla="*/ 0 h 76"/>
              <a:gd name="T14" fmla="*/ 60 w 60"/>
              <a:gd name="T15" fmla="*/ 0 h 76"/>
              <a:gd name="T16" fmla="*/ 60 w 60"/>
              <a:gd name="T17" fmla="*/ 54 h 76"/>
              <a:gd name="T18" fmla="*/ 60 w 60"/>
              <a:gd name="T19" fmla="*/ 54 h 76"/>
              <a:gd name="T20" fmla="*/ 58 w 60"/>
              <a:gd name="T21" fmla="*/ 62 h 76"/>
              <a:gd name="T22" fmla="*/ 52 w 60"/>
              <a:gd name="T23" fmla="*/ 68 h 76"/>
              <a:gd name="T24" fmla="*/ 52 w 60"/>
              <a:gd name="T25" fmla="*/ 68 h 76"/>
              <a:gd name="T26" fmla="*/ 48 w 60"/>
              <a:gd name="T27" fmla="*/ 72 h 76"/>
              <a:gd name="T28" fmla="*/ 42 w 60"/>
              <a:gd name="T29" fmla="*/ 74 h 76"/>
              <a:gd name="T30" fmla="*/ 30 w 60"/>
              <a:gd name="T31" fmla="*/ 76 h 76"/>
              <a:gd name="T32" fmla="*/ 28 w 60"/>
              <a:gd name="T33" fmla="*/ 76 h 76"/>
              <a:gd name="T34" fmla="*/ 28 w 60"/>
              <a:gd name="T35" fmla="*/ 76 h 76"/>
              <a:gd name="T36" fmla="*/ 16 w 60"/>
              <a:gd name="T37" fmla="*/ 74 h 76"/>
              <a:gd name="T38" fmla="*/ 12 w 60"/>
              <a:gd name="T39" fmla="*/ 72 h 76"/>
              <a:gd name="T40" fmla="*/ 6 w 60"/>
              <a:gd name="T41" fmla="*/ 68 h 76"/>
              <a:gd name="T42" fmla="*/ 6 w 60"/>
              <a:gd name="T43" fmla="*/ 68 h 76"/>
              <a:gd name="T44" fmla="*/ 0 w 60"/>
              <a:gd name="T45" fmla="*/ 62 h 76"/>
              <a:gd name="T46" fmla="*/ 0 w 60"/>
              <a:gd name="T47" fmla="*/ 54 h 76"/>
              <a:gd name="T48" fmla="*/ 0 w 60"/>
              <a:gd name="T49" fmla="*/ 0 h 76"/>
              <a:gd name="T50" fmla="*/ 14 w 60"/>
              <a:gd name="T51" fmla="*/ 0 h 76"/>
              <a:gd name="T52" fmla="*/ 14 w 60"/>
              <a:gd name="T53" fmla="*/ 54 h 76"/>
              <a:gd name="T54" fmla="*/ 14 w 60"/>
              <a:gd name="T55" fmla="*/ 54 h 76"/>
              <a:gd name="T56" fmla="*/ 16 w 60"/>
              <a:gd name="T57" fmla="*/ 60 h 76"/>
              <a:gd name="T58" fmla="*/ 22 w 60"/>
              <a:gd name="T59" fmla="*/ 62 h 76"/>
              <a:gd name="T60" fmla="*/ 22 w 60"/>
              <a:gd name="T61" fmla="*/ 62 h 76"/>
              <a:gd name="T62" fmla="*/ 30 w 60"/>
              <a:gd name="T63" fmla="*/ 6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0" h="76">
                <a:moveTo>
                  <a:pt x="30" y="64"/>
                </a:moveTo>
                <a:lnTo>
                  <a:pt x="30" y="64"/>
                </a:lnTo>
                <a:lnTo>
                  <a:pt x="36" y="62"/>
                </a:lnTo>
                <a:lnTo>
                  <a:pt x="36" y="62"/>
                </a:lnTo>
                <a:lnTo>
                  <a:pt x="42" y="60"/>
                </a:lnTo>
                <a:lnTo>
                  <a:pt x="44" y="54"/>
                </a:lnTo>
                <a:lnTo>
                  <a:pt x="44" y="0"/>
                </a:lnTo>
                <a:lnTo>
                  <a:pt x="60" y="0"/>
                </a:lnTo>
                <a:lnTo>
                  <a:pt x="60" y="54"/>
                </a:lnTo>
                <a:lnTo>
                  <a:pt x="60" y="54"/>
                </a:lnTo>
                <a:lnTo>
                  <a:pt x="58" y="62"/>
                </a:lnTo>
                <a:lnTo>
                  <a:pt x="52" y="68"/>
                </a:lnTo>
                <a:lnTo>
                  <a:pt x="52" y="68"/>
                </a:lnTo>
                <a:lnTo>
                  <a:pt x="48" y="72"/>
                </a:lnTo>
                <a:lnTo>
                  <a:pt x="42" y="74"/>
                </a:lnTo>
                <a:lnTo>
                  <a:pt x="30" y="76"/>
                </a:lnTo>
                <a:lnTo>
                  <a:pt x="28" y="76"/>
                </a:lnTo>
                <a:lnTo>
                  <a:pt x="28" y="76"/>
                </a:lnTo>
                <a:lnTo>
                  <a:pt x="16" y="74"/>
                </a:lnTo>
                <a:lnTo>
                  <a:pt x="12" y="72"/>
                </a:lnTo>
                <a:lnTo>
                  <a:pt x="6" y="68"/>
                </a:lnTo>
                <a:lnTo>
                  <a:pt x="6" y="68"/>
                </a:lnTo>
                <a:lnTo>
                  <a:pt x="0" y="62"/>
                </a:lnTo>
                <a:lnTo>
                  <a:pt x="0" y="54"/>
                </a:lnTo>
                <a:lnTo>
                  <a:pt x="0" y="0"/>
                </a:lnTo>
                <a:lnTo>
                  <a:pt x="14" y="0"/>
                </a:lnTo>
                <a:lnTo>
                  <a:pt x="14" y="54"/>
                </a:lnTo>
                <a:lnTo>
                  <a:pt x="14" y="54"/>
                </a:lnTo>
                <a:lnTo>
                  <a:pt x="16" y="60"/>
                </a:lnTo>
                <a:lnTo>
                  <a:pt x="22" y="62"/>
                </a:lnTo>
                <a:lnTo>
                  <a:pt x="22" y="62"/>
                </a:lnTo>
                <a:lnTo>
                  <a:pt x="30" y="6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43" name="Freeform 419"/>
          <p:cNvSpPr>
            <a:spLocks/>
          </p:cNvSpPr>
          <p:nvPr/>
        </p:nvSpPr>
        <p:spPr bwMode="gray">
          <a:xfrm>
            <a:off x="9470893" y="644525"/>
            <a:ext cx="41275" cy="52388"/>
          </a:xfrm>
          <a:custGeom>
            <a:avLst/>
            <a:gdLst>
              <a:gd name="T0" fmla="*/ 50 w 54"/>
              <a:gd name="T1" fmla="*/ 28 h 74"/>
              <a:gd name="T2" fmla="*/ 14 w 54"/>
              <a:gd name="T3" fmla="*/ 28 h 74"/>
              <a:gd name="T4" fmla="*/ 14 w 54"/>
              <a:gd name="T5" fmla="*/ 12 h 74"/>
              <a:gd name="T6" fmla="*/ 54 w 54"/>
              <a:gd name="T7" fmla="*/ 12 h 74"/>
              <a:gd name="T8" fmla="*/ 54 w 54"/>
              <a:gd name="T9" fmla="*/ 0 h 74"/>
              <a:gd name="T10" fmla="*/ 0 w 54"/>
              <a:gd name="T11" fmla="*/ 0 h 74"/>
              <a:gd name="T12" fmla="*/ 0 w 54"/>
              <a:gd name="T13" fmla="*/ 74 h 74"/>
              <a:gd name="T14" fmla="*/ 54 w 54"/>
              <a:gd name="T15" fmla="*/ 74 h 74"/>
              <a:gd name="T16" fmla="*/ 54 w 54"/>
              <a:gd name="T17" fmla="*/ 62 h 74"/>
              <a:gd name="T18" fmla="*/ 14 w 54"/>
              <a:gd name="T19" fmla="*/ 62 h 74"/>
              <a:gd name="T20" fmla="*/ 14 w 54"/>
              <a:gd name="T21" fmla="*/ 40 h 74"/>
              <a:gd name="T22" fmla="*/ 50 w 54"/>
              <a:gd name="T23" fmla="*/ 40 h 74"/>
              <a:gd name="T24" fmla="*/ 50 w 54"/>
              <a:gd name="T25" fmla="*/ 28 h 74"/>
              <a:gd name="T26" fmla="*/ 50 w 54"/>
              <a:gd name="T27" fmla="*/ 28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" h="74">
                <a:moveTo>
                  <a:pt x="50" y="28"/>
                </a:moveTo>
                <a:lnTo>
                  <a:pt x="14" y="28"/>
                </a:lnTo>
                <a:lnTo>
                  <a:pt x="14" y="12"/>
                </a:lnTo>
                <a:lnTo>
                  <a:pt x="54" y="12"/>
                </a:lnTo>
                <a:lnTo>
                  <a:pt x="54" y="0"/>
                </a:lnTo>
                <a:lnTo>
                  <a:pt x="0" y="0"/>
                </a:lnTo>
                <a:lnTo>
                  <a:pt x="0" y="74"/>
                </a:lnTo>
                <a:lnTo>
                  <a:pt x="54" y="74"/>
                </a:lnTo>
                <a:lnTo>
                  <a:pt x="54" y="62"/>
                </a:lnTo>
                <a:lnTo>
                  <a:pt x="14" y="62"/>
                </a:lnTo>
                <a:lnTo>
                  <a:pt x="14" y="40"/>
                </a:lnTo>
                <a:lnTo>
                  <a:pt x="50" y="40"/>
                </a:lnTo>
                <a:lnTo>
                  <a:pt x="50" y="28"/>
                </a:lnTo>
                <a:lnTo>
                  <a:pt x="50" y="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44" name="Freeform 420"/>
          <p:cNvSpPr>
            <a:spLocks/>
          </p:cNvSpPr>
          <p:nvPr/>
        </p:nvSpPr>
        <p:spPr bwMode="gray">
          <a:xfrm>
            <a:off x="9641153" y="644526"/>
            <a:ext cx="46435" cy="53975"/>
          </a:xfrm>
          <a:custGeom>
            <a:avLst/>
            <a:gdLst>
              <a:gd name="T0" fmla="*/ 30 w 60"/>
              <a:gd name="T1" fmla="*/ 64 h 76"/>
              <a:gd name="T2" fmla="*/ 30 w 60"/>
              <a:gd name="T3" fmla="*/ 64 h 76"/>
              <a:gd name="T4" fmla="*/ 38 w 60"/>
              <a:gd name="T5" fmla="*/ 62 h 76"/>
              <a:gd name="T6" fmla="*/ 38 w 60"/>
              <a:gd name="T7" fmla="*/ 62 h 76"/>
              <a:gd name="T8" fmla="*/ 42 w 60"/>
              <a:gd name="T9" fmla="*/ 60 h 76"/>
              <a:gd name="T10" fmla="*/ 46 w 60"/>
              <a:gd name="T11" fmla="*/ 54 h 76"/>
              <a:gd name="T12" fmla="*/ 46 w 60"/>
              <a:gd name="T13" fmla="*/ 0 h 76"/>
              <a:gd name="T14" fmla="*/ 60 w 60"/>
              <a:gd name="T15" fmla="*/ 0 h 76"/>
              <a:gd name="T16" fmla="*/ 60 w 60"/>
              <a:gd name="T17" fmla="*/ 54 h 76"/>
              <a:gd name="T18" fmla="*/ 60 w 60"/>
              <a:gd name="T19" fmla="*/ 54 h 76"/>
              <a:gd name="T20" fmla="*/ 60 w 60"/>
              <a:gd name="T21" fmla="*/ 62 h 76"/>
              <a:gd name="T22" fmla="*/ 54 w 60"/>
              <a:gd name="T23" fmla="*/ 68 h 76"/>
              <a:gd name="T24" fmla="*/ 54 w 60"/>
              <a:gd name="T25" fmla="*/ 68 h 76"/>
              <a:gd name="T26" fmla="*/ 48 w 60"/>
              <a:gd name="T27" fmla="*/ 72 h 76"/>
              <a:gd name="T28" fmla="*/ 44 w 60"/>
              <a:gd name="T29" fmla="*/ 74 h 76"/>
              <a:gd name="T30" fmla="*/ 30 w 60"/>
              <a:gd name="T31" fmla="*/ 76 h 76"/>
              <a:gd name="T32" fmla="*/ 30 w 60"/>
              <a:gd name="T33" fmla="*/ 76 h 76"/>
              <a:gd name="T34" fmla="*/ 30 w 60"/>
              <a:gd name="T35" fmla="*/ 76 h 76"/>
              <a:gd name="T36" fmla="*/ 18 w 60"/>
              <a:gd name="T37" fmla="*/ 74 h 76"/>
              <a:gd name="T38" fmla="*/ 12 w 60"/>
              <a:gd name="T39" fmla="*/ 72 h 76"/>
              <a:gd name="T40" fmla="*/ 8 w 60"/>
              <a:gd name="T41" fmla="*/ 68 h 76"/>
              <a:gd name="T42" fmla="*/ 8 w 60"/>
              <a:gd name="T43" fmla="*/ 68 h 76"/>
              <a:gd name="T44" fmla="*/ 2 w 60"/>
              <a:gd name="T45" fmla="*/ 62 h 76"/>
              <a:gd name="T46" fmla="*/ 0 w 60"/>
              <a:gd name="T47" fmla="*/ 54 h 76"/>
              <a:gd name="T48" fmla="*/ 0 w 60"/>
              <a:gd name="T49" fmla="*/ 0 h 76"/>
              <a:gd name="T50" fmla="*/ 16 w 60"/>
              <a:gd name="T51" fmla="*/ 0 h 76"/>
              <a:gd name="T52" fmla="*/ 16 w 60"/>
              <a:gd name="T53" fmla="*/ 54 h 76"/>
              <a:gd name="T54" fmla="*/ 16 w 60"/>
              <a:gd name="T55" fmla="*/ 54 h 76"/>
              <a:gd name="T56" fmla="*/ 18 w 60"/>
              <a:gd name="T57" fmla="*/ 60 h 76"/>
              <a:gd name="T58" fmla="*/ 24 w 60"/>
              <a:gd name="T59" fmla="*/ 62 h 76"/>
              <a:gd name="T60" fmla="*/ 24 w 60"/>
              <a:gd name="T61" fmla="*/ 62 h 76"/>
              <a:gd name="T62" fmla="*/ 30 w 60"/>
              <a:gd name="T63" fmla="*/ 6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0" h="76">
                <a:moveTo>
                  <a:pt x="30" y="64"/>
                </a:moveTo>
                <a:lnTo>
                  <a:pt x="30" y="64"/>
                </a:lnTo>
                <a:lnTo>
                  <a:pt x="38" y="62"/>
                </a:lnTo>
                <a:lnTo>
                  <a:pt x="38" y="62"/>
                </a:lnTo>
                <a:lnTo>
                  <a:pt x="42" y="60"/>
                </a:lnTo>
                <a:lnTo>
                  <a:pt x="46" y="54"/>
                </a:lnTo>
                <a:lnTo>
                  <a:pt x="46" y="0"/>
                </a:lnTo>
                <a:lnTo>
                  <a:pt x="60" y="0"/>
                </a:lnTo>
                <a:lnTo>
                  <a:pt x="60" y="54"/>
                </a:lnTo>
                <a:lnTo>
                  <a:pt x="60" y="54"/>
                </a:lnTo>
                <a:lnTo>
                  <a:pt x="60" y="62"/>
                </a:lnTo>
                <a:lnTo>
                  <a:pt x="54" y="68"/>
                </a:lnTo>
                <a:lnTo>
                  <a:pt x="54" y="68"/>
                </a:lnTo>
                <a:lnTo>
                  <a:pt x="48" y="72"/>
                </a:lnTo>
                <a:lnTo>
                  <a:pt x="44" y="74"/>
                </a:lnTo>
                <a:lnTo>
                  <a:pt x="30" y="76"/>
                </a:lnTo>
                <a:lnTo>
                  <a:pt x="30" y="76"/>
                </a:lnTo>
                <a:lnTo>
                  <a:pt x="30" y="76"/>
                </a:lnTo>
                <a:lnTo>
                  <a:pt x="18" y="74"/>
                </a:lnTo>
                <a:lnTo>
                  <a:pt x="12" y="72"/>
                </a:lnTo>
                <a:lnTo>
                  <a:pt x="8" y="68"/>
                </a:lnTo>
                <a:lnTo>
                  <a:pt x="8" y="68"/>
                </a:lnTo>
                <a:lnTo>
                  <a:pt x="2" y="62"/>
                </a:lnTo>
                <a:lnTo>
                  <a:pt x="0" y="54"/>
                </a:lnTo>
                <a:lnTo>
                  <a:pt x="0" y="0"/>
                </a:lnTo>
                <a:lnTo>
                  <a:pt x="16" y="0"/>
                </a:lnTo>
                <a:lnTo>
                  <a:pt x="16" y="54"/>
                </a:lnTo>
                <a:lnTo>
                  <a:pt x="16" y="54"/>
                </a:lnTo>
                <a:lnTo>
                  <a:pt x="18" y="60"/>
                </a:lnTo>
                <a:lnTo>
                  <a:pt x="24" y="62"/>
                </a:lnTo>
                <a:lnTo>
                  <a:pt x="24" y="62"/>
                </a:lnTo>
                <a:lnTo>
                  <a:pt x="30" y="6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45" name="Freeform 421"/>
          <p:cNvSpPr>
            <a:spLocks/>
          </p:cNvSpPr>
          <p:nvPr/>
        </p:nvSpPr>
        <p:spPr bwMode="gray">
          <a:xfrm>
            <a:off x="9641153" y="644526"/>
            <a:ext cx="46435" cy="53975"/>
          </a:xfrm>
          <a:custGeom>
            <a:avLst/>
            <a:gdLst>
              <a:gd name="T0" fmla="*/ 30 w 60"/>
              <a:gd name="T1" fmla="*/ 64 h 76"/>
              <a:gd name="T2" fmla="*/ 30 w 60"/>
              <a:gd name="T3" fmla="*/ 64 h 76"/>
              <a:gd name="T4" fmla="*/ 38 w 60"/>
              <a:gd name="T5" fmla="*/ 62 h 76"/>
              <a:gd name="T6" fmla="*/ 38 w 60"/>
              <a:gd name="T7" fmla="*/ 62 h 76"/>
              <a:gd name="T8" fmla="*/ 42 w 60"/>
              <a:gd name="T9" fmla="*/ 60 h 76"/>
              <a:gd name="T10" fmla="*/ 46 w 60"/>
              <a:gd name="T11" fmla="*/ 54 h 76"/>
              <a:gd name="T12" fmla="*/ 46 w 60"/>
              <a:gd name="T13" fmla="*/ 0 h 76"/>
              <a:gd name="T14" fmla="*/ 60 w 60"/>
              <a:gd name="T15" fmla="*/ 0 h 76"/>
              <a:gd name="T16" fmla="*/ 60 w 60"/>
              <a:gd name="T17" fmla="*/ 54 h 76"/>
              <a:gd name="T18" fmla="*/ 60 w 60"/>
              <a:gd name="T19" fmla="*/ 54 h 76"/>
              <a:gd name="T20" fmla="*/ 60 w 60"/>
              <a:gd name="T21" fmla="*/ 62 h 76"/>
              <a:gd name="T22" fmla="*/ 54 w 60"/>
              <a:gd name="T23" fmla="*/ 68 h 76"/>
              <a:gd name="T24" fmla="*/ 54 w 60"/>
              <a:gd name="T25" fmla="*/ 68 h 76"/>
              <a:gd name="T26" fmla="*/ 48 w 60"/>
              <a:gd name="T27" fmla="*/ 72 h 76"/>
              <a:gd name="T28" fmla="*/ 44 w 60"/>
              <a:gd name="T29" fmla="*/ 74 h 76"/>
              <a:gd name="T30" fmla="*/ 30 w 60"/>
              <a:gd name="T31" fmla="*/ 76 h 76"/>
              <a:gd name="T32" fmla="*/ 30 w 60"/>
              <a:gd name="T33" fmla="*/ 76 h 76"/>
              <a:gd name="T34" fmla="*/ 30 w 60"/>
              <a:gd name="T35" fmla="*/ 76 h 76"/>
              <a:gd name="T36" fmla="*/ 18 w 60"/>
              <a:gd name="T37" fmla="*/ 74 h 76"/>
              <a:gd name="T38" fmla="*/ 12 w 60"/>
              <a:gd name="T39" fmla="*/ 72 h 76"/>
              <a:gd name="T40" fmla="*/ 8 w 60"/>
              <a:gd name="T41" fmla="*/ 68 h 76"/>
              <a:gd name="T42" fmla="*/ 8 w 60"/>
              <a:gd name="T43" fmla="*/ 68 h 76"/>
              <a:gd name="T44" fmla="*/ 2 w 60"/>
              <a:gd name="T45" fmla="*/ 62 h 76"/>
              <a:gd name="T46" fmla="*/ 0 w 60"/>
              <a:gd name="T47" fmla="*/ 54 h 76"/>
              <a:gd name="T48" fmla="*/ 0 w 60"/>
              <a:gd name="T49" fmla="*/ 0 h 76"/>
              <a:gd name="T50" fmla="*/ 16 w 60"/>
              <a:gd name="T51" fmla="*/ 0 h 76"/>
              <a:gd name="T52" fmla="*/ 16 w 60"/>
              <a:gd name="T53" fmla="*/ 54 h 76"/>
              <a:gd name="T54" fmla="*/ 16 w 60"/>
              <a:gd name="T55" fmla="*/ 54 h 76"/>
              <a:gd name="T56" fmla="*/ 18 w 60"/>
              <a:gd name="T57" fmla="*/ 60 h 76"/>
              <a:gd name="T58" fmla="*/ 24 w 60"/>
              <a:gd name="T59" fmla="*/ 62 h 76"/>
              <a:gd name="T60" fmla="*/ 24 w 60"/>
              <a:gd name="T61" fmla="*/ 62 h 76"/>
              <a:gd name="T62" fmla="*/ 30 w 60"/>
              <a:gd name="T63" fmla="*/ 6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0" h="76">
                <a:moveTo>
                  <a:pt x="30" y="64"/>
                </a:moveTo>
                <a:lnTo>
                  <a:pt x="30" y="64"/>
                </a:lnTo>
                <a:lnTo>
                  <a:pt x="38" y="62"/>
                </a:lnTo>
                <a:lnTo>
                  <a:pt x="38" y="62"/>
                </a:lnTo>
                <a:lnTo>
                  <a:pt x="42" y="60"/>
                </a:lnTo>
                <a:lnTo>
                  <a:pt x="46" y="54"/>
                </a:lnTo>
                <a:lnTo>
                  <a:pt x="46" y="0"/>
                </a:lnTo>
                <a:lnTo>
                  <a:pt x="60" y="0"/>
                </a:lnTo>
                <a:lnTo>
                  <a:pt x="60" y="54"/>
                </a:lnTo>
                <a:lnTo>
                  <a:pt x="60" y="54"/>
                </a:lnTo>
                <a:lnTo>
                  <a:pt x="60" y="62"/>
                </a:lnTo>
                <a:lnTo>
                  <a:pt x="54" y="68"/>
                </a:lnTo>
                <a:lnTo>
                  <a:pt x="54" y="68"/>
                </a:lnTo>
                <a:lnTo>
                  <a:pt x="48" y="72"/>
                </a:lnTo>
                <a:lnTo>
                  <a:pt x="44" y="74"/>
                </a:lnTo>
                <a:lnTo>
                  <a:pt x="30" y="76"/>
                </a:lnTo>
                <a:lnTo>
                  <a:pt x="30" y="76"/>
                </a:lnTo>
                <a:lnTo>
                  <a:pt x="30" y="76"/>
                </a:lnTo>
                <a:lnTo>
                  <a:pt x="18" y="74"/>
                </a:lnTo>
                <a:lnTo>
                  <a:pt x="12" y="72"/>
                </a:lnTo>
                <a:lnTo>
                  <a:pt x="8" y="68"/>
                </a:lnTo>
                <a:lnTo>
                  <a:pt x="8" y="68"/>
                </a:lnTo>
                <a:lnTo>
                  <a:pt x="2" y="62"/>
                </a:lnTo>
                <a:lnTo>
                  <a:pt x="0" y="54"/>
                </a:lnTo>
                <a:lnTo>
                  <a:pt x="0" y="0"/>
                </a:lnTo>
                <a:lnTo>
                  <a:pt x="16" y="0"/>
                </a:lnTo>
                <a:lnTo>
                  <a:pt x="16" y="54"/>
                </a:lnTo>
                <a:lnTo>
                  <a:pt x="16" y="54"/>
                </a:lnTo>
                <a:lnTo>
                  <a:pt x="18" y="60"/>
                </a:lnTo>
                <a:lnTo>
                  <a:pt x="24" y="62"/>
                </a:lnTo>
                <a:lnTo>
                  <a:pt x="24" y="62"/>
                </a:lnTo>
                <a:lnTo>
                  <a:pt x="30" y="6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46" name="Freeform 422"/>
          <p:cNvSpPr>
            <a:spLocks/>
          </p:cNvSpPr>
          <p:nvPr/>
        </p:nvSpPr>
        <p:spPr bwMode="gray">
          <a:xfrm>
            <a:off x="9192287" y="644525"/>
            <a:ext cx="46434" cy="52388"/>
          </a:xfrm>
          <a:custGeom>
            <a:avLst/>
            <a:gdLst>
              <a:gd name="T0" fmla="*/ 0 w 60"/>
              <a:gd name="T1" fmla="*/ 0 h 74"/>
              <a:gd name="T2" fmla="*/ 0 w 60"/>
              <a:gd name="T3" fmla="*/ 0 h 74"/>
              <a:gd name="T4" fmla="*/ 36 w 60"/>
              <a:gd name="T5" fmla="*/ 0 h 74"/>
              <a:gd name="T6" fmla="*/ 36 w 60"/>
              <a:gd name="T7" fmla="*/ 0 h 74"/>
              <a:gd name="T8" fmla="*/ 44 w 60"/>
              <a:gd name="T9" fmla="*/ 0 h 74"/>
              <a:gd name="T10" fmla="*/ 50 w 60"/>
              <a:gd name="T11" fmla="*/ 4 h 74"/>
              <a:gd name="T12" fmla="*/ 56 w 60"/>
              <a:gd name="T13" fmla="*/ 10 h 74"/>
              <a:gd name="T14" fmla="*/ 58 w 60"/>
              <a:gd name="T15" fmla="*/ 16 h 74"/>
              <a:gd name="T16" fmla="*/ 58 w 60"/>
              <a:gd name="T17" fmla="*/ 16 h 74"/>
              <a:gd name="T18" fmla="*/ 58 w 60"/>
              <a:gd name="T19" fmla="*/ 22 h 74"/>
              <a:gd name="T20" fmla="*/ 56 w 60"/>
              <a:gd name="T21" fmla="*/ 28 h 74"/>
              <a:gd name="T22" fmla="*/ 52 w 60"/>
              <a:gd name="T23" fmla="*/ 32 h 74"/>
              <a:gd name="T24" fmla="*/ 46 w 60"/>
              <a:gd name="T25" fmla="*/ 34 h 74"/>
              <a:gd name="T26" fmla="*/ 46 w 60"/>
              <a:gd name="T27" fmla="*/ 34 h 74"/>
              <a:gd name="T28" fmla="*/ 52 w 60"/>
              <a:gd name="T29" fmla="*/ 36 h 74"/>
              <a:gd name="T30" fmla="*/ 56 w 60"/>
              <a:gd name="T31" fmla="*/ 42 h 74"/>
              <a:gd name="T32" fmla="*/ 60 w 60"/>
              <a:gd name="T33" fmla="*/ 48 h 74"/>
              <a:gd name="T34" fmla="*/ 60 w 60"/>
              <a:gd name="T35" fmla="*/ 54 h 74"/>
              <a:gd name="T36" fmla="*/ 60 w 60"/>
              <a:gd name="T37" fmla="*/ 54 h 74"/>
              <a:gd name="T38" fmla="*/ 58 w 60"/>
              <a:gd name="T39" fmla="*/ 60 h 74"/>
              <a:gd name="T40" fmla="*/ 54 w 60"/>
              <a:gd name="T41" fmla="*/ 68 h 74"/>
              <a:gd name="T42" fmla="*/ 46 w 60"/>
              <a:gd name="T43" fmla="*/ 72 h 74"/>
              <a:gd name="T44" fmla="*/ 36 w 60"/>
              <a:gd name="T45" fmla="*/ 74 h 74"/>
              <a:gd name="T46" fmla="*/ 0 w 60"/>
              <a:gd name="T47" fmla="*/ 74 h 74"/>
              <a:gd name="T48" fmla="*/ 0 w 60"/>
              <a:gd name="T49" fmla="*/ 0 h 74"/>
              <a:gd name="T50" fmla="*/ 0 w 60"/>
              <a:gd name="T51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0" h="74">
                <a:moveTo>
                  <a:pt x="0" y="0"/>
                </a:moveTo>
                <a:lnTo>
                  <a:pt x="0" y="0"/>
                </a:lnTo>
                <a:lnTo>
                  <a:pt x="36" y="0"/>
                </a:lnTo>
                <a:lnTo>
                  <a:pt x="36" y="0"/>
                </a:lnTo>
                <a:lnTo>
                  <a:pt x="44" y="0"/>
                </a:lnTo>
                <a:lnTo>
                  <a:pt x="50" y="4"/>
                </a:lnTo>
                <a:lnTo>
                  <a:pt x="56" y="10"/>
                </a:lnTo>
                <a:lnTo>
                  <a:pt x="58" y="16"/>
                </a:lnTo>
                <a:lnTo>
                  <a:pt x="58" y="16"/>
                </a:lnTo>
                <a:lnTo>
                  <a:pt x="58" y="22"/>
                </a:lnTo>
                <a:lnTo>
                  <a:pt x="56" y="28"/>
                </a:lnTo>
                <a:lnTo>
                  <a:pt x="52" y="32"/>
                </a:lnTo>
                <a:lnTo>
                  <a:pt x="46" y="34"/>
                </a:lnTo>
                <a:lnTo>
                  <a:pt x="46" y="34"/>
                </a:lnTo>
                <a:lnTo>
                  <a:pt x="52" y="36"/>
                </a:lnTo>
                <a:lnTo>
                  <a:pt x="56" y="42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58" y="60"/>
                </a:lnTo>
                <a:lnTo>
                  <a:pt x="54" y="68"/>
                </a:lnTo>
                <a:lnTo>
                  <a:pt x="46" y="72"/>
                </a:lnTo>
                <a:lnTo>
                  <a:pt x="36" y="74"/>
                </a:lnTo>
                <a:lnTo>
                  <a:pt x="0" y="74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47" name="Freeform 423"/>
          <p:cNvSpPr>
            <a:spLocks/>
          </p:cNvSpPr>
          <p:nvPr/>
        </p:nvSpPr>
        <p:spPr bwMode="gray">
          <a:xfrm>
            <a:off x="9206045" y="673101"/>
            <a:ext cx="20638" cy="15875"/>
          </a:xfrm>
          <a:custGeom>
            <a:avLst/>
            <a:gdLst>
              <a:gd name="T0" fmla="*/ 0 w 28"/>
              <a:gd name="T1" fmla="*/ 0 h 22"/>
              <a:gd name="T2" fmla="*/ 0 w 28"/>
              <a:gd name="T3" fmla="*/ 0 h 22"/>
              <a:gd name="T4" fmla="*/ 20 w 28"/>
              <a:gd name="T5" fmla="*/ 0 h 22"/>
              <a:gd name="T6" fmla="*/ 20 w 28"/>
              <a:gd name="T7" fmla="*/ 0 h 22"/>
              <a:gd name="T8" fmla="*/ 24 w 28"/>
              <a:gd name="T9" fmla="*/ 2 h 22"/>
              <a:gd name="T10" fmla="*/ 26 w 28"/>
              <a:gd name="T11" fmla="*/ 4 h 22"/>
              <a:gd name="T12" fmla="*/ 28 w 28"/>
              <a:gd name="T13" fmla="*/ 8 h 22"/>
              <a:gd name="T14" fmla="*/ 28 w 28"/>
              <a:gd name="T15" fmla="*/ 10 h 22"/>
              <a:gd name="T16" fmla="*/ 28 w 28"/>
              <a:gd name="T17" fmla="*/ 10 h 22"/>
              <a:gd name="T18" fmla="*/ 26 w 28"/>
              <a:gd name="T19" fmla="*/ 18 h 22"/>
              <a:gd name="T20" fmla="*/ 24 w 28"/>
              <a:gd name="T21" fmla="*/ 20 h 22"/>
              <a:gd name="T22" fmla="*/ 20 w 28"/>
              <a:gd name="T23" fmla="*/ 20 h 22"/>
              <a:gd name="T24" fmla="*/ 20 w 28"/>
              <a:gd name="T25" fmla="*/ 20 h 22"/>
              <a:gd name="T26" fmla="*/ 0 w 28"/>
              <a:gd name="T27" fmla="*/ 22 h 22"/>
              <a:gd name="T28" fmla="*/ 0 w 28"/>
              <a:gd name="T29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8" h="22">
                <a:moveTo>
                  <a:pt x="0" y="0"/>
                </a:moveTo>
                <a:lnTo>
                  <a:pt x="0" y="0"/>
                </a:lnTo>
                <a:lnTo>
                  <a:pt x="20" y="0"/>
                </a:lnTo>
                <a:lnTo>
                  <a:pt x="20" y="0"/>
                </a:lnTo>
                <a:lnTo>
                  <a:pt x="24" y="2"/>
                </a:lnTo>
                <a:lnTo>
                  <a:pt x="26" y="4"/>
                </a:lnTo>
                <a:lnTo>
                  <a:pt x="28" y="8"/>
                </a:lnTo>
                <a:lnTo>
                  <a:pt x="28" y="10"/>
                </a:lnTo>
                <a:lnTo>
                  <a:pt x="28" y="10"/>
                </a:lnTo>
                <a:lnTo>
                  <a:pt x="26" y="18"/>
                </a:lnTo>
                <a:lnTo>
                  <a:pt x="24" y="20"/>
                </a:lnTo>
                <a:lnTo>
                  <a:pt x="20" y="20"/>
                </a:lnTo>
                <a:lnTo>
                  <a:pt x="20" y="20"/>
                </a:lnTo>
                <a:lnTo>
                  <a:pt x="0" y="22"/>
                </a:lnTo>
                <a:lnTo>
                  <a:pt x="0" y="0"/>
                </a:lnTo>
                <a:close/>
              </a:path>
            </a:pathLst>
          </a:custGeom>
          <a:solidFill>
            <a:srgbClr val="6F6E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48" name="Freeform 424"/>
          <p:cNvSpPr>
            <a:spLocks/>
          </p:cNvSpPr>
          <p:nvPr/>
        </p:nvSpPr>
        <p:spPr bwMode="gray">
          <a:xfrm>
            <a:off x="9206045" y="673101"/>
            <a:ext cx="20638" cy="15875"/>
          </a:xfrm>
          <a:custGeom>
            <a:avLst/>
            <a:gdLst>
              <a:gd name="T0" fmla="*/ 0 w 28"/>
              <a:gd name="T1" fmla="*/ 0 h 22"/>
              <a:gd name="T2" fmla="*/ 0 w 28"/>
              <a:gd name="T3" fmla="*/ 0 h 22"/>
              <a:gd name="T4" fmla="*/ 20 w 28"/>
              <a:gd name="T5" fmla="*/ 0 h 22"/>
              <a:gd name="T6" fmla="*/ 20 w 28"/>
              <a:gd name="T7" fmla="*/ 0 h 22"/>
              <a:gd name="T8" fmla="*/ 24 w 28"/>
              <a:gd name="T9" fmla="*/ 2 h 22"/>
              <a:gd name="T10" fmla="*/ 26 w 28"/>
              <a:gd name="T11" fmla="*/ 4 h 22"/>
              <a:gd name="T12" fmla="*/ 28 w 28"/>
              <a:gd name="T13" fmla="*/ 8 h 22"/>
              <a:gd name="T14" fmla="*/ 28 w 28"/>
              <a:gd name="T15" fmla="*/ 10 h 22"/>
              <a:gd name="T16" fmla="*/ 28 w 28"/>
              <a:gd name="T17" fmla="*/ 10 h 22"/>
              <a:gd name="T18" fmla="*/ 26 w 28"/>
              <a:gd name="T19" fmla="*/ 18 h 22"/>
              <a:gd name="T20" fmla="*/ 24 w 28"/>
              <a:gd name="T21" fmla="*/ 20 h 22"/>
              <a:gd name="T22" fmla="*/ 20 w 28"/>
              <a:gd name="T23" fmla="*/ 20 h 22"/>
              <a:gd name="T24" fmla="*/ 20 w 28"/>
              <a:gd name="T25" fmla="*/ 20 h 22"/>
              <a:gd name="T26" fmla="*/ 0 w 28"/>
              <a:gd name="T27" fmla="*/ 22 h 22"/>
              <a:gd name="T28" fmla="*/ 0 w 28"/>
              <a:gd name="T29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8" h="22">
                <a:moveTo>
                  <a:pt x="0" y="0"/>
                </a:moveTo>
                <a:lnTo>
                  <a:pt x="0" y="0"/>
                </a:lnTo>
                <a:lnTo>
                  <a:pt x="20" y="0"/>
                </a:lnTo>
                <a:lnTo>
                  <a:pt x="20" y="0"/>
                </a:lnTo>
                <a:lnTo>
                  <a:pt x="24" y="2"/>
                </a:lnTo>
                <a:lnTo>
                  <a:pt x="26" y="4"/>
                </a:lnTo>
                <a:lnTo>
                  <a:pt x="28" y="8"/>
                </a:lnTo>
                <a:lnTo>
                  <a:pt x="28" y="10"/>
                </a:lnTo>
                <a:lnTo>
                  <a:pt x="28" y="10"/>
                </a:lnTo>
                <a:lnTo>
                  <a:pt x="26" y="18"/>
                </a:lnTo>
                <a:lnTo>
                  <a:pt x="24" y="20"/>
                </a:lnTo>
                <a:lnTo>
                  <a:pt x="20" y="20"/>
                </a:lnTo>
                <a:lnTo>
                  <a:pt x="20" y="20"/>
                </a:lnTo>
                <a:lnTo>
                  <a:pt x="0" y="2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49" name="Freeform 425"/>
          <p:cNvSpPr>
            <a:spLocks/>
          </p:cNvSpPr>
          <p:nvPr/>
        </p:nvSpPr>
        <p:spPr bwMode="gray">
          <a:xfrm>
            <a:off x="9206045" y="652463"/>
            <a:ext cx="18917" cy="12700"/>
          </a:xfrm>
          <a:custGeom>
            <a:avLst/>
            <a:gdLst>
              <a:gd name="T0" fmla="*/ 0 w 26"/>
              <a:gd name="T1" fmla="*/ 0 h 18"/>
              <a:gd name="T2" fmla="*/ 0 w 26"/>
              <a:gd name="T3" fmla="*/ 0 h 18"/>
              <a:gd name="T4" fmla="*/ 18 w 26"/>
              <a:gd name="T5" fmla="*/ 0 h 18"/>
              <a:gd name="T6" fmla="*/ 18 w 26"/>
              <a:gd name="T7" fmla="*/ 0 h 18"/>
              <a:gd name="T8" fmla="*/ 24 w 26"/>
              <a:gd name="T9" fmla="*/ 2 h 18"/>
              <a:gd name="T10" fmla="*/ 26 w 26"/>
              <a:gd name="T11" fmla="*/ 6 h 18"/>
              <a:gd name="T12" fmla="*/ 26 w 26"/>
              <a:gd name="T13" fmla="*/ 10 h 18"/>
              <a:gd name="T14" fmla="*/ 26 w 26"/>
              <a:gd name="T15" fmla="*/ 10 h 18"/>
              <a:gd name="T16" fmla="*/ 26 w 26"/>
              <a:gd name="T17" fmla="*/ 14 h 18"/>
              <a:gd name="T18" fmla="*/ 24 w 26"/>
              <a:gd name="T19" fmla="*/ 16 h 18"/>
              <a:gd name="T20" fmla="*/ 22 w 26"/>
              <a:gd name="T21" fmla="*/ 18 h 18"/>
              <a:gd name="T22" fmla="*/ 18 w 26"/>
              <a:gd name="T23" fmla="*/ 18 h 18"/>
              <a:gd name="T24" fmla="*/ 18 w 26"/>
              <a:gd name="T25" fmla="*/ 18 h 18"/>
              <a:gd name="T26" fmla="*/ 0 w 26"/>
              <a:gd name="T27" fmla="*/ 18 h 18"/>
              <a:gd name="T28" fmla="*/ 0 w 26"/>
              <a:gd name="T29" fmla="*/ 0 h 18"/>
              <a:gd name="T30" fmla="*/ 0 w 26"/>
              <a:gd name="T31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6" h="18">
                <a:moveTo>
                  <a:pt x="0" y="0"/>
                </a:moveTo>
                <a:lnTo>
                  <a:pt x="0" y="0"/>
                </a:lnTo>
                <a:lnTo>
                  <a:pt x="18" y="0"/>
                </a:lnTo>
                <a:lnTo>
                  <a:pt x="18" y="0"/>
                </a:lnTo>
                <a:lnTo>
                  <a:pt x="24" y="2"/>
                </a:lnTo>
                <a:lnTo>
                  <a:pt x="26" y="6"/>
                </a:lnTo>
                <a:lnTo>
                  <a:pt x="26" y="10"/>
                </a:lnTo>
                <a:lnTo>
                  <a:pt x="26" y="10"/>
                </a:lnTo>
                <a:lnTo>
                  <a:pt x="26" y="14"/>
                </a:lnTo>
                <a:lnTo>
                  <a:pt x="24" y="16"/>
                </a:lnTo>
                <a:lnTo>
                  <a:pt x="22" y="18"/>
                </a:lnTo>
                <a:lnTo>
                  <a:pt x="18" y="18"/>
                </a:lnTo>
                <a:lnTo>
                  <a:pt x="18" y="18"/>
                </a:lnTo>
                <a:lnTo>
                  <a:pt x="0" y="1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6F6E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50" name="Freeform 426"/>
          <p:cNvSpPr>
            <a:spLocks noEditPoints="1"/>
          </p:cNvSpPr>
          <p:nvPr/>
        </p:nvSpPr>
        <p:spPr bwMode="gray">
          <a:xfrm>
            <a:off x="9550004" y="644525"/>
            <a:ext cx="53313" cy="52388"/>
          </a:xfrm>
          <a:custGeom>
            <a:avLst/>
            <a:gdLst>
              <a:gd name="T0" fmla="*/ 42 w 68"/>
              <a:gd name="T1" fmla="*/ 0 h 74"/>
              <a:gd name="T2" fmla="*/ 26 w 68"/>
              <a:gd name="T3" fmla="*/ 0 h 74"/>
              <a:gd name="T4" fmla="*/ 0 w 68"/>
              <a:gd name="T5" fmla="*/ 74 h 74"/>
              <a:gd name="T6" fmla="*/ 16 w 68"/>
              <a:gd name="T7" fmla="*/ 74 h 74"/>
              <a:gd name="T8" fmla="*/ 22 w 68"/>
              <a:gd name="T9" fmla="*/ 58 h 74"/>
              <a:gd name="T10" fmla="*/ 48 w 68"/>
              <a:gd name="T11" fmla="*/ 58 h 74"/>
              <a:gd name="T12" fmla="*/ 54 w 68"/>
              <a:gd name="T13" fmla="*/ 74 h 74"/>
              <a:gd name="T14" fmla="*/ 68 w 68"/>
              <a:gd name="T15" fmla="*/ 74 h 74"/>
              <a:gd name="T16" fmla="*/ 42 w 68"/>
              <a:gd name="T17" fmla="*/ 0 h 74"/>
              <a:gd name="T18" fmla="*/ 42 w 68"/>
              <a:gd name="T19" fmla="*/ 0 h 74"/>
              <a:gd name="T20" fmla="*/ 26 w 68"/>
              <a:gd name="T21" fmla="*/ 46 h 74"/>
              <a:gd name="T22" fmla="*/ 34 w 68"/>
              <a:gd name="T23" fmla="*/ 14 h 74"/>
              <a:gd name="T24" fmla="*/ 34 w 68"/>
              <a:gd name="T25" fmla="*/ 14 h 74"/>
              <a:gd name="T26" fmla="*/ 34 w 68"/>
              <a:gd name="T27" fmla="*/ 14 h 74"/>
              <a:gd name="T28" fmla="*/ 34 w 68"/>
              <a:gd name="T29" fmla="*/ 14 h 74"/>
              <a:gd name="T30" fmla="*/ 34 w 68"/>
              <a:gd name="T31" fmla="*/ 14 h 74"/>
              <a:gd name="T32" fmla="*/ 44 w 68"/>
              <a:gd name="T33" fmla="*/ 46 h 74"/>
              <a:gd name="T34" fmla="*/ 26 w 68"/>
              <a:gd name="T35" fmla="*/ 46 h 74"/>
              <a:gd name="T36" fmla="*/ 26 w 68"/>
              <a:gd name="T37" fmla="*/ 46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8" h="74">
                <a:moveTo>
                  <a:pt x="42" y="0"/>
                </a:moveTo>
                <a:lnTo>
                  <a:pt x="26" y="0"/>
                </a:lnTo>
                <a:lnTo>
                  <a:pt x="0" y="74"/>
                </a:lnTo>
                <a:lnTo>
                  <a:pt x="16" y="74"/>
                </a:lnTo>
                <a:lnTo>
                  <a:pt x="22" y="58"/>
                </a:lnTo>
                <a:lnTo>
                  <a:pt x="48" y="58"/>
                </a:lnTo>
                <a:lnTo>
                  <a:pt x="54" y="74"/>
                </a:lnTo>
                <a:lnTo>
                  <a:pt x="68" y="74"/>
                </a:lnTo>
                <a:lnTo>
                  <a:pt x="42" y="0"/>
                </a:lnTo>
                <a:lnTo>
                  <a:pt x="42" y="0"/>
                </a:lnTo>
                <a:close/>
                <a:moveTo>
                  <a:pt x="26" y="46"/>
                </a:moveTo>
                <a:lnTo>
                  <a:pt x="34" y="14"/>
                </a:lnTo>
                <a:lnTo>
                  <a:pt x="34" y="14"/>
                </a:lnTo>
                <a:lnTo>
                  <a:pt x="34" y="14"/>
                </a:lnTo>
                <a:lnTo>
                  <a:pt x="34" y="14"/>
                </a:lnTo>
                <a:lnTo>
                  <a:pt x="34" y="14"/>
                </a:lnTo>
                <a:lnTo>
                  <a:pt x="44" y="46"/>
                </a:lnTo>
                <a:lnTo>
                  <a:pt x="26" y="46"/>
                </a:lnTo>
                <a:lnTo>
                  <a:pt x="26" y="4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51" name="Freeform 427"/>
          <p:cNvSpPr>
            <a:spLocks noEditPoints="1"/>
          </p:cNvSpPr>
          <p:nvPr/>
        </p:nvSpPr>
        <p:spPr bwMode="gray">
          <a:xfrm>
            <a:off x="9378024" y="644525"/>
            <a:ext cx="46434" cy="52388"/>
          </a:xfrm>
          <a:custGeom>
            <a:avLst/>
            <a:gdLst>
              <a:gd name="T0" fmla="*/ 44 w 60"/>
              <a:gd name="T1" fmla="*/ 38 h 74"/>
              <a:gd name="T2" fmla="*/ 44 w 60"/>
              <a:gd name="T3" fmla="*/ 38 h 74"/>
              <a:gd name="T4" fmla="*/ 48 w 60"/>
              <a:gd name="T5" fmla="*/ 36 h 74"/>
              <a:gd name="T6" fmla="*/ 54 w 60"/>
              <a:gd name="T7" fmla="*/ 32 h 74"/>
              <a:gd name="T8" fmla="*/ 58 w 60"/>
              <a:gd name="T9" fmla="*/ 26 h 74"/>
              <a:gd name="T10" fmla="*/ 58 w 60"/>
              <a:gd name="T11" fmla="*/ 18 h 74"/>
              <a:gd name="T12" fmla="*/ 58 w 60"/>
              <a:gd name="T13" fmla="*/ 18 h 74"/>
              <a:gd name="T14" fmla="*/ 56 w 60"/>
              <a:gd name="T15" fmla="*/ 10 h 74"/>
              <a:gd name="T16" fmla="*/ 50 w 60"/>
              <a:gd name="T17" fmla="*/ 4 h 74"/>
              <a:gd name="T18" fmla="*/ 42 w 60"/>
              <a:gd name="T19" fmla="*/ 0 h 74"/>
              <a:gd name="T20" fmla="*/ 34 w 60"/>
              <a:gd name="T21" fmla="*/ 0 h 74"/>
              <a:gd name="T22" fmla="*/ 34 w 60"/>
              <a:gd name="T23" fmla="*/ 0 h 74"/>
              <a:gd name="T24" fmla="*/ 0 w 60"/>
              <a:gd name="T25" fmla="*/ 0 h 74"/>
              <a:gd name="T26" fmla="*/ 0 w 60"/>
              <a:gd name="T27" fmla="*/ 74 h 74"/>
              <a:gd name="T28" fmla="*/ 14 w 60"/>
              <a:gd name="T29" fmla="*/ 74 h 74"/>
              <a:gd name="T30" fmla="*/ 14 w 60"/>
              <a:gd name="T31" fmla="*/ 44 h 74"/>
              <a:gd name="T32" fmla="*/ 14 w 60"/>
              <a:gd name="T33" fmla="*/ 44 h 74"/>
              <a:gd name="T34" fmla="*/ 34 w 60"/>
              <a:gd name="T35" fmla="*/ 44 h 74"/>
              <a:gd name="T36" fmla="*/ 34 w 60"/>
              <a:gd name="T37" fmla="*/ 44 h 74"/>
              <a:gd name="T38" fmla="*/ 38 w 60"/>
              <a:gd name="T39" fmla="*/ 46 h 74"/>
              <a:gd name="T40" fmla="*/ 40 w 60"/>
              <a:gd name="T41" fmla="*/ 48 h 74"/>
              <a:gd name="T42" fmla="*/ 42 w 60"/>
              <a:gd name="T43" fmla="*/ 60 h 74"/>
              <a:gd name="T44" fmla="*/ 44 w 60"/>
              <a:gd name="T45" fmla="*/ 70 h 74"/>
              <a:gd name="T46" fmla="*/ 44 w 60"/>
              <a:gd name="T47" fmla="*/ 72 h 74"/>
              <a:gd name="T48" fmla="*/ 44 w 60"/>
              <a:gd name="T49" fmla="*/ 74 h 74"/>
              <a:gd name="T50" fmla="*/ 60 w 60"/>
              <a:gd name="T51" fmla="*/ 74 h 74"/>
              <a:gd name="T52" fmla="*/ 60 w 60"/>
              <a:gd name="T53" fmla="*/ 74 h 74"/>
              <a:gd name="T54" fmla="*/ 58 w 60"/>
              <a:gd name="T55" fmla="*/ 64 h 74"/>
              <a:gd name="T56" fmla="*/ 56 w 60"/>
              <a:gd name="T57" fmla="*/ 52 h 74"/>
              <a:gd name="T58" fmla="*/ 54 w 60"/>
              <a:gd name="T59" fmla="*/ 48 h 74"/>
              <a:gd name="T60" fmla="*/ 52 w 60"/>
              <a:gd name="T61" fmla="*/ 44 h 74"/>
              <a:gd name="T62" fmla="*/ 48 w 60"/>
              <a:gd name="T63" fmla="*/ 40 h 74"/>
              <a:gd name="T64" fmla="*/ 44 w 60"/>
              <a:gd name="T65" fmla="*/ 38 h 74"/>
              <a:gd name="T66" fmla="*/ 44 w 60"/>
              <a:gd name="T67" fmla="*/ 38 h 74"/>
              <a:gd name="T68" fmla="*/ 36 w 60"/>
              <a:gd name="T69" fmla="*/ 30 h 74"/>
              <a:gd name="T70" fmla="*/ 36 w 60"/>
              <a:gd name="T71" fmla="*/ 30 h 74"/>
              <a:gd name="T72" fmla="*/ 14 w 60"/>
              <a:gd name="T73" fmla="*/ 30 h 74"/>
              <a:gd name="T74" fmla="*/ 14 w 60"/>
              <a:gd name="T75" fmla="*/ 12 h 74"/>
              <a:gd name="T76" fmla="*/ 14 w 60"/>
              <a:gd name="T77" fmla="*/ 12 h 74"/>
              <a:gd name="T78" fmla="*/ 34 w 60"/>
              <a:gd name="T79" fmla="*/ 12 h 74"/>
              <a:gd name="T80" fmla="*/ 34 w 60"/>
              <a:gd name="T81" fmla="*/ 12 h 74"/>
              <a:gd name="T82" fmla="*/ 40 w 60"/>
              <a:gd name="T83" fmla="*/ 14 h 74"/>
              <a:gd name="T84" fmla="*/ 42 w 60"/>
              <a:gd name="T85" fmla="*/ 16 h 74"/>
              <a:gd name="T86" fmla="*/ 42 w 60"/>
              <a:gd name="T87" fmla="*/ 20 h 74"/>
              <a:gd name="T88" fmla="*/ 42 w 60"/>
              <a:gd name="T89" fmla="*/ 20 h 74"/>
              <a:gd name="T90" fmla="*/ 40 w 60"/>
              <a:gd name="T91" fmla="*/ 28 h 74"/>
              <a:gd name="T92" fmla="*/ 38 w 60"/>
              <a:gd name="T93" fmla="*/ 30 h 74"/>
              <a:gd name="T94" fmla="*/ 36 w 60"/>
              <a:gd name="T95" fmla="*/ 30 h 74"/>
              <a:gd name="T96" fmla="*/ 36 w 60"/>
              <a:gd name="T97" fmla="*/ 3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0" h="74">
                <a:moveTo>
                  <a:pt x="44" y="38"/>
                </a:moveTo>
                <a:lnTo>
                  <a:pt x="44" y="38"/>
                </a:lnTo>
                <a:lnTo>
                  <a:pt x="48" y="36"/>
                </a:lnTo>
                <a:lnTo>
                  <a:pt x="54" y="32"/>
                </a:lnTo>
                <a:lnTo>
                  <a:pt x="58" y="26"/>
                </a:lnTo>
                <a:lnTo>
                  <a:pt x="58" y="18"/>
                </a:lnTo>
                <a:lnTo>
                  <a:pt x="58" y="18"/>
                </a:lnTo>
                <a:lnTo>
                  <a:pt x="56" y="10"/>
                </a:lnTo>
                <a:lnTo>
                  <a:pt x="50" y="4"/>
                </a:lnTo>
                <a:lnTo>
                  <a:pt x="42" y="0"/>
                </a:lnTo>
                <a:lnTo>
                  <a:pt x="34" y="0"/>
                </a:lnTo>
                <a:lnTo>
                  <a:pt x="34" y="0"/>
                </a:lnTo>
                <a:lnTo>
                  <a:pt x="0" y="0"/>
                </a:lnTo>
                <a:lnTo>
                  <a:pt x="0" y="74"/>
                </a:lnTo>
                <a:lnTo>
                  <a:pt x="14" y="74"/>
                </a:lnTo>
                <a:lnTo>
                  <a:pt x="14" y="44"/>
                </a:lnTo>
                <a:lnTo>
                  <a:pt x="14" y="44"/>
                </a:lnTo>
                <a:lnTo>
                  <a:pt x="34" y="44"/>
                </a:lnTo>
                <a:lnTo>
                  <a:pt x="34" y="44"/>
                </a:lnTo>
                <a:lnTo>
                  <a:pt x="38" y="46"/>
                </a:lnTo>
                <a:lnTo>
                  <a:pt x="40" y="48"/>
                </a:lnTo>
                <a:lnTo>
                  <a:pt x="42" y="60"/>
                </a:lnTo>
                <a:lnTo>
                  <a:pt x="44" y="70"/>
                </a:lnTo>
                <a:lnTo>
                  <a:pt x="44" y="72"/>
                </a:lnTo>
                <a:lnTo>
                  <a:pt x="44" y="74"/>
                </a:lnTo>
                <a:lnTo>
                  <a:pt x="60" y="74"/>
                </a:lnTo>
                <a:lnTo>
                  <a:pt x="60" y="74"/>
                </a:lnTo>
                <a:lnTo>
                  <a:pt x="58" y="64"/>
                </a:lnTo>
                <a:lnTo>
                  <a:pt x="56" y="52"/>
                </a:lnTo>
                <a:lnTo>
                  <a:pt x="54" y="48"/>
                </a:lnTo>
                <a:lnTo>
                  <a:pt x="52" y="44"/>
                </a:lnTo>
                <a:lnTo>
                  <a:pt x="48" y="40"/>
                </a:lnTo>
                <a:lnTo>
                  <a:pt x="44" y="38"/>
                </a:lnTo>
                <a:lnTo>
                  <a:pt x="44" y="38"/>
                </a:lnTo>
                <a:close/>
                <a:moveTo>
                  <a:pt x="36" y="30"/>
                </a:moveTo>
                <a:lnTo>
                  <a:pt x="36" y="30"/>
                </a:lnTo>
                <a:lnTo>
                  <a:pt x="14" y="30"/>
                </a:lnTo>
                <a:lnTo>
                  <a:pt x="14" y="12"/>
                </a:lnTo>
                <a:lnTo>
                  <a:pt x="14" y="12"/>
                </a:lnTo>
                <a:lnTo>
                  <a:pt x="34" y="12"/>
                </a:lnTo>
                <a:lnTo>
                  <a:pt x="34" y="12"/>
                </a:lnTo>
                <a:lnTo>
                  <a:pt x="40" y="14"/>
                </a:lnTo>
                <a:lnTo>
                  <a:pt x="42" y="16"/>
                </a:lnTo>
                <a:lnTo>
                  <a:pt x="42" y="20"/>
                </a:lnTo>
                <a:lnTo>
                  <a:pt x="42" y="20"/>
                </a:lnTo>
                <a:lnTo>
                  <a:pt x="40" y="28"/>
                </a:lnTo>
                <a:lnTo>
                  <a:pt x="38" y="30"/>
                </a:lnTo>
                <a:lnTo>
                  <a:pt x="36" y="30"/>
                </a:lnTo>
                <a:lnTo>
                  <a:pt x="36" y="3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52" name="Freeform 428"/>
          <p:cNvSpPr>
            <a:spLocks/>
          </p:cNvSpPr>
          <p:nvPr/>
        </p:nvSpPr>
        <p:spPr bwMode="gray">
          <a:xfrm>
            <a:off x="9188848" y="738189"/>
            <a:ext cx="49873" cy="53975"/>
          </a:xfrm>
          <a:custGeom>
            <a:avLst/>
            <a:gdLst>
              <a:gd name="T0" fmla="*/ 26 w 66"/>
              <a:gd name="T1" fmla="*/ 76 h 76"/>
              <a:gd name="T2" fmla="*/ 0 w 66"/>
              <a:gd name="T3" fmla="*/ 0 h 76"/>
              <a:gd name="T4" fmla="*/ 16 w 66"/>
              <a:gd name="T5" fmla="*/ 0 h 76"/>
              <a:gd name="T6" fmla="*/ 16 w 66"/>
              <a:gd name="T7" fmla="*/ 0 h 76"/>
              <a:gd name="T8" fmla="*/ 24 w 66"/>
              <a:gd name="T9" fmla="*/ 30 h 76"/>
              <a:gd name="T10" fmla="*/ 32 w 66"/>
              <a:gd name="T11" fmla="*/ 56 h 76"/>
              <a:gd name="T12" fmla="*/ 32 w 66"/>
              <a:gd name="T13" fmla="*/ 56 h 76"/>
              <a:gd name="T14" fmla="*/ 42 w 66"/>
              <a:gd name="T15" fmla="*/ 30 h 76"/>
              <a:gd name="T16" fmla="*/ 50 w 66"/>
              <a:gd name="T17" fmla="*/ 0 h 76"/>
              <a:gd name="T18" fmla="*/ 66 w 66"/>
              <a:gd name="T19" fmla="*/ 0 h 76"/>
              <a:gd name="T20" fmla="*/ 40 w 66"/>
              <a:gd name="T21" fmla="*/ 76 h 76"/>
              <a:gd name="T22" fmla="*/ 26 w 66"/>
              <a:gd name="T23" fmla="*/ 76 h 76"/>
              <a:gd name="T24" fmla="*/ 26 w 66"/>
              <a:gd name="T25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6" h="76">
                <a:moveTo>
                  <a:pt x="26" y="76"/>
                </a:moveTo>
                <a:lnTo>
                  <a:pt x="0" y="0"/>
                </a:lnTo>
                <a:lnTo>
                  <a:pt x="16" y="0"/>
                </a:lnTo>
                <a:lnTo>
                  <a:pt x="16" y="0"/>
                </a:lnTo>
                <a:lnTo>
                  <a:pt x="24" y="30"/>
                </a:lnTo>
                <a:lnTo>
                  <a:pt x="32" y="56"/>
                </a:lnTo>
                <a:lnTo>
                  <a:pt x="32" y="56"/>
                </a:lnTo>
                <a:lnTo>
                  <a:pt x="42" y="30"/>
                </a:lnTo>
                <a:lnTo>
                  <a:pt x="50" y="0"/>
                </a:lnTo>
                <a:lnTo>
                  <a:pt x="66" y="0"/>
                </a:lnTo>
                <a:lnTo>
                  <a:pt x="40" y="76"/>
                </a:lnTo>
                <a:lnTo>
                  <a:pt x="26" y="76"/>
                </a:lnTo>
                <a:lnTo>
                  <a:pt x="26" y="7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53" name="Freeform 429"/>
          <p:cNvSpPr>
            <a:spLocks/>
          </p:cNvSpPr>
          <p:nvPr/>
        </p:nvSpPr>
        <p:spPr bwMode="gray">
          <a:xfrm>
            <a:off x="9273117" y="738189"/>
            <a:ext cx="42995" cy="53975"/>
          </a:xfrm>
          <a:custGeom>
            <a:avLst/>
            <a:gdLst>
              <a:gd name="T0" fmla="*/ 50 w 56"/>
              <a:gd name="T1" fmla="*/ 28 h 76"/>
              <a:gd name="T2" fmla="*/ 16 w 56"/>
              <a:gd name="T3" fmla="*/ 28 h 76"/>
              <a:gd name="T4" fmla="*/ 16 w 56"/>
              <a:gd name="T5" fmla="*/ 12 h 76"/>
              <a:gd name="T6" fmla="*/ 56 w 56"/>
              <a:gd name="T7" fmla="*/ 12 h 76"/>
              <a:gd name="T8" fmla="*/ 56 w 56"/>
              <a:gd name="T9" fmla="*/ 0 h 76"/>
              <a:gd name="T10" fmla="*/ 0 w 56"/>
              <a:gd name="T11" fmla="*/ 0 h 76"/>
              <a:gd name="T12" fmla="*/ 0 w 56"/>
              <a:gd name="T13" fmla="*/ 76 h 76"/>
              <a:gd name="T14" fmla="*/ 56 w 56"/>
              <a:gd name="T15" fmla="*/ 76 h 76"/>
              <a:gd name="T16" fmla="*/ 56 w 56"/>
              <a:gd name="T17" fmla="*/ 62 h 76"/>
              <a:gd name="T18" fmla="*/ 16 w 56"/>
              <a:gd name="T19" fmla="*/ 62 h 76"/>
              <a:gd name="T20" fmla="*/ 16 w 56"/>
              <a:gd name="T21" fmla="*/ 42 h 76"/>
              <a:gd name="T22" fmla="*/ 50 w 56"/>
              <a:gd name="T23" fmla="*/ 42 h 76"/>
              <a:gd name="T24" fmla="*/ 50 w 56"/>
              <a:gd name="T25" fmla="*/ 28 h 76"/>
              <a:gd name="T26" fmla="*/ 50 w 56"/>
              <a:gd name="T27" fmla="*/ 28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6" h="76">
                <a:moveTo>
                  <a:pt x="50" y="28"/>
                </a:moveTo>
                <a:lnTo>
                  <a:pt x="16" y="28"/>
                </a:lnTo>
                <a:lnTo>
                  <a:pt x="16" y="12"/>
                </a:lnTo>
                <a:lnTo>
                  <a:pt x="56" y="12"/>
                </a:lnTo>
                <a:lnTo>
                  <a:pt x="56" y="0"/>
                </a:lnTo>
                <a:lnTo>
                  <a:pt x="0" y="0"/>
                </a:lnTo>
                <a:lnTo>
                  <a:pt x="0" y="76"/>
                </a:lnTo>
                <a:lnTo>
                  <a:pt x="56" y="76"/>
                </a:lnTo>
                <a:lnTo>
                  <a:pt x="56" y="62"/>
                </a:lnTo>
                <a:lnTo>
                  <a:pt x="16" y="62"/>
                </a:lnTo>
                <a:lnTo>
                  <a:pt x="16" y="42"/>
                </a:lnTo>
                <a:lnTo>
                  <a:pt x="50" y="42"/>
                </a:lnTo>
                <a:lnTo>
                  <a:pt x="50" y="28"/>
                </a:lnTo>
                <a:lnTo>
                  <a:pt x="50" y="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54" name="Freeform 430"/>
          <p:cNvSpPr>
            <a:spLocks/>
          </p:cNvSpPr>
          <p:nvPr/>
        </p:nvSpPr>
        <p:spPr bwMode="gray">
          <a:xfrm>
            <a:off x="9446817" y="738189"/>
            <a:ext cx="10319" cy="53975"/>
          </a:xfrm>
          <a:custGeom>
            <a:avLst/>
            <a:gdLst>
              <a:gd name="T0" fmla="*/ 14 w 14"/>
              <a:gd name="T1" fmla="*/ 0 h 76"/>
              <a:gd name="T2" fmla="*/ 14 w 14"/>
              <a:gd name="T3" fmla="*/ 76 h 76"/>
              <a:gd name="T4" fmla="*/ 0 w 14"/>
              <a:gd name="T5" fmla="*/ 76 h 76"/>
              <a:gd name="T6" fmla="*/ 0 w 14"/>
              <a:gd name="T7" fmla="*/ 0 h 76"/>
              <a:gd name="T8" fmla="*/ 14 w 14"/>
              <a:gd name="T9" fmla="*/ 0 h 76"/>
              <a:gd name="T10" fmla="*/ 14 w 14"/>
              <a:gd name="T11" fmla="*/ 0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" h="76">
                <a:moveTo>
                  <a:pt x="14" y="0"/>
                </a:moveTo>
                <a:lnTo>
                  <a:pt x="14" y="76"/>
                </a:lnTo>
                <a:lnTo>
                  <a:pt x="0" y="76"/>
                </a:lnTo>
                <a:lnTo>
                  <a:pt x="0" y="0"/>
                </a:lnTo>
                <a:lnTo>
                  <a:pt x="14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55" name="Freeform 431"/>
          <p:cNvSpPr>
            <a:spLocks/>
          </p:cNvSpPr>
          <p:nvPr/>
        </p:nvSpPr>
        <p:spPr bwMode="gray">
          <a:xfrm>
            <a:off x="9491531" y="738189"/>
            <a:ext cx="46434" cy="53975"/>
          </a:xfrm>
          <a:custGeom>
            <a:avLst/>
            <a:gdLst>
              <a:gd name="T0" fmla="*/ 0 w 60"/>
              <a:gd name="T1" fmla="*/ 14 h 76"/>
              <a:gd name="T2" fmla="*/ 0 w 60"/>
              <a:gd name="T3" fmla="*/ 0 h 76"/>
              <a:gd name="T4" fmla="*/ 60 w 60"/>
              <a:gd name="T5" fmla="*/ 0 h 76"/>
              <a:gd name="T6" fmla="*/ 60 w 60"/>
              <a:gd name="T7" fmla="*/ 14 h 76"/>
              <a:gd name="T8" fmla="*/ 38 w 60"/>
              <a:gd name="T9" fmla="*/ 14 h 76"/>
              <a:gd name="T10" fmla="*/ 38 w 60"/>
              <a:gd name="T11" fmla="*/ 76 h 76"/>
              <a:gd name="T12" fmla="*/ 22 w 60"/>
              <a:gd name="T13" fmla="*/ 76 h 76"/>
              <a:gd name="T14" fmla="*/ 22 w 60"/>
              <a:gd name="T15" fmla="*/ 14 h 76"/>
              <a:gd name="T16" fmla="*/ 0 w 60"/>
              <a:gd name="T17" fmla="*/ 14 h 76"/>
              <a:gd name="T18" fmla="*/ 0 w 60"/>
              <a:gd name="T19" fmla="*/ 1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0" h="76">
                <a:moveTo>
                  <a:pt x="0" y="14"/>
                </a:moveTo>
                <a:lnTo>
                  <a:pt x="0" y="0"/>
                </a:lnTo>
                <a:lnTo>
                  <a:pt x="60" y="0"/>
                </a:lnTo>
                <a:lnTo>
                  <a:pt x="60" y="14"/>
                </a:lnTo>
                <a:lnTo>
                  <a:pt x="38" y="14"/>
                </a:lnTo>
                <a:lnTo>
                  <a:pt x="38" y="76"/>
                </a:lnTo>
                <a:lnTo>
                  <a:pt x="22" y="76"/>
                </a:lnTo>
                <a:lnTo>
                  <a:pt x="22" y="14"/>
                </a:lnTo>
                <a:lnTo>
                  <a:pt x="0" y="14"/>
                </a:lnTo>
                <a:lnTo>
                  <a:pt x="0" y="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56" name="Freeform 432"/>
          <p:cNvSpPr>
            <a:spLocks noEditPoints="1"/>
          </p:cNvSpPr>
          <p:nvPr/>
        </p:nvSpPr>
        <p:spPr bwMode="gray">
          <a:xfrm>
            <a:off x="9562042" y="738189"/>
            <a:ext cx="53314" cy="53975"/>
          </a:xfrm>
          <a:custGeom>
            <a:avLst/>
            <a:gdLst>
              <a:gd name="T0" fmla="*/ 44 w 70"/>
              <a:gd name="T1" fmla="*/ 0 h 76"/>
              <a:gd name="T2" fmla="*/ 26 w 70"/>
              <a:gd name="T3" fmla="*/ 0 h 76"/>
              <a:gd name="T4" fmla="*/ 0 w 70"/>
              <a:gd name="T5" fmla="*/ 76 h 76"/>
              <a:gd name="T6" fmla="*/ 16 w 70"/>
              <a:gd name="T7" fmla="*/ 76 h 76"/>
              <a:gd name="T8" fmla="*/ 22 w 70"/>
              <a:gd name="T9" fmla="*/ 58 h 76"/>
              <a:gd name="T10" fmla="*/ 48 w 70"/>
              <a:gd name="T11" fmla="*/ 58 h 76"/>
              <a:gd name="T12" fmla="*/ 54 w 70"/>
              <a:gd name="T13" fmla="*/ 76 h 76"/>
              <a:gd name="T14" fmla="*/ 70 w 70"/>
              <a:gd name="T15" fmla="*/ 76 h 76"/>
              <a:gd name="T16" fmla="*/ 44 w 70"/>
              <a:gd name="T17" fmla="*/ 0 h 76"/>
              <a:gd name="T18" fmla="*/ 44 w 70"/>
              <a:gd name="T19" fmla="*/ 0 h 76"/>
              <a:gd name="T20" fmla="*/ 26 w 70"/>
              <a:gd name="T21" fmla="*/ 46 h 76"/>
              <a:gd name="T22" fmla="*/ 34 w 70"/>
              <a:gd name="T23" fmla="*/ 16 h 76"/>
              <a:gd name="T24" fmla="*/ 34 w 70"/>
              <a:gd name="T25" fmla="*/ 14 h 76"/>
              <a:gd name="T26" fmla="*/ 36 w 70"/>
              <a:gd name="T27" fmla="*/ 16 h 76"/>
              <a:gd name="T28" fmla="*/ 36 w 70"/>
              <a:gd name="T29" fmla="*/ 14 h 76"/>
              <a:gd name="T30" fmla="*/ 36 w 70"/>
              <a:gd name="T31" fmla="*/ 16 h 76"/>
              <a:gd name="T32" fmla="*/ 44 w 70"/>
              <a:gd name="T33" fmla="*/ 46 h 76"/>
              <a:gd name="T34" fmla="*/ 26 w 70"/>
              <a:gd name="T35" fmla="*/ 46 h 76"/>
              <a:gd name="T36" fmla="*/ 26 w 70"/>
              <a:gd name="T37" fmla="*/ 4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0" h="76">
                <a:moveTo>
                  <a:pt x="44" y="0"/>
                </a:moveTo>
                <a:lnTo>
                  <a:pt x="26" y="0"/>
                </a:lnTo>
                <a:lnTo>
                  <a:pt x="0" y="76"/>
                </a:lnTo>
                <a:lnTo>
                  <a:pt x="16" y="76"/>
                </a:lnTo>
                <a:lnTo>
                  <a:pt x="22" y="58"/>
                </a:lnTo>
                <a:lnTo>
                  <a:pt x="48" y="58"/>
                </a:lnTo>
                <a:lnTo>
                  <a:pt x="54" y="76"/>
                </a:lnTo>
                <a:lnTo>
                  <a:pt x="70" y="76"/>
                </a:lnTo>
                <a:lnTo>
                  <a:pt x="44" y="0"/>
                </a:lnTo>
                <a:lnTo>
                  <a:pt x="44" y="0"/>
                </a:lnTo>
                <a:close/>
                <a:moveTo>
                  <a:pt x="26" y="46"/>
                </a:moveTo>
                <a:lnTo>
                  <a:pt x="34" y="16"/>
                </a:lnTo>
                <a:lnTo>
                  <a:pt x="34" y="14"/>
                </a:lnTo>
                <a:lnTo>
                  <a:pt x="36" y="16"/>
                </a:lnTo>
                <a:lnTo>
                  <a:pt x="36" y="14"/>
                </a:lnTo>
                <a:lnTo>
                  <a:pt x="36" y="16"/>
                </a:lnTo>
                <a:lnTo>
                  <a:pt x="44" y="46"/>
                </a:lnTo>
                <a:lnTo>
                  <a:pt x="26" y="46"/>
                </a:lnTo>
                <a:lnTo>
                  <a:pt x="26" y="4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57" name="Freeform 433"/>
          <p:cNvSpPr>
            <a:spLocks noEditPoints="1"/>
          </p:cNvSpPr>
          <p:nvPr/>
        </p:nvSpPr>
        <p:spPr bwMode="gray">
          <a:xfrm>
            <a:off x="9357387" y="738189"/>
            <a:ext cx="46434" cy="52387"/>
          </a:xfrm>
          <a:custGeom>
            <a:avLst/>
            <a:gdLst>
              <a:gd name="T0" fmla="*/ 44 w 60"/>
              <a:gd name="T1" fmla="*/ 38 h 74"/>
              <a:gd name="T2" fmla="*/ 44 w 60"/>
              <a:gd name="T3" fmla="*/ 38 h 74"/>
              <a:gd name="T4" fmla="*/ 50 w 60"/>
              <a:gd name="T5" fmla="*/ 36 h 74"/>
              <a:gd name="T6" fmla="*/ 54 w 60"/>
              <a:gd name="T7" fmla="*/ 32 h 74"/>
              <a:gd name="T8" fmla="*/ 58 w 60"/>
              <a:gd name="T9" fmla="*/ 28 h 74"/>
              <a:gd name="T10" fmla="*/ 60 w 60"/>
              <a:gd name="T11" fmla="*/ 18 h 74"/>
              <a:gd name="T12" fmla="*/ 60 w 60"/>
              <a:gd name="T13" fmla="*/ 18 h 74"/>
              <a:gd name="T14" fmla="*/ 56 w 60"/>
              <a:gd name="T15" fmla="*/ 10 h 74"/>
              <a:gd name="T16" fmla="*/ 52 w 60"/>
              <a:gd name="T17" fmla="*/ 4 h 74"/>
              <a:gd name="T18" fmla="*/ 44 w 60"/>
              <a:gd name="T19" fmla="*/ 2 h 74"/>
              <a:gd name="T20" fmla="*/ 36 w 60"/>
              <a:gd name="T21" fmla="*/ 0 h 74"/>
              <a:gd name="T22" fmla="*/ 36 w 60"/>
              <a:gd name="T23" fmla="*/ 0 h 74"/>
              <a:gd name="T24" fmla="*/ 0 w 60"/>
              <a:gd name="T25" fmla="*/ 0 h 74"/>
              <a:gd name="T26" fmla="*/ 0 w 60"/>
              <a:gd name="T27" fmla="*/ 74 h 74"/>
              <a:gd name="T28" fmla="*/ 16 w 60"/>
              <a:gd name="T29" fmla="*/ 74 h 74"/>
              <a:gd name="T30" fmla="*/ 16 w 60"/>
              <a:gd name="T31" fmla="*/ 44 h 74"/>
              <a:gd name="T32" fmla="*/ 16 w 60"/>
              <a:gd name="T33" fmla="*/ 44 h 74"/>
              <a:gd name="T34" fmla="*/ 34 w 60"/>
              <a:gd name="T35" fmla="*/ 44 h 74"/>
              <a:gd name="T36" fmla="*/ 34 w 60"/>
              <a:gd name="T37" fmla="*/ 44 h 74"/>
              <a:gd name="T38" fmla="*/ 38 w 60"/>
              <a:gd name="T39" fmla="*/ 46 h 74"/>
              <a:gd name="T40" fmla="*/ 40 w 60"/>
              <a:gd name="T41" fmla="*/ 50 h 74"/>
              <a:gd name="T42" fmla="*/ 44 w 60"/>
              <a:gd name="T43" fmla="*/ 60 h 74"/>
              <a:gd name="T44" fmla="*/ 44 w 60"/>
              <a:gd name="T45" fmla="*/ 70 h 74"/>
              <a:gd name="T46" fmla="*/ 44 w 60"/>
              <a:gd name="T47" fmla="*/ 74 h 74"/>
              <a:gd name="T48" fmla="*/ 46 w 60"/>
              <a:gd name="T49" fmla="*/ 74 h 74"/>
              <a:gd name="T50" fmla="*/ 60 w 60"/>
              <a:gd name="T51" fmla="*/ 74 h 74"/>
              <a:gd name="T52" fmla="*/ 60 w 60"/>
              <a:gd name="T53" fmla="*/ 74 h 74"/>
              <a:gd name="T54" fmla="*/ 58 w 60"/>
              <a:gd name="T55" fmla="*/ 64 h 74"/>
              <a:gd name="T56" fmla="*/ 58 w 60"/>
              <a:gd name="T57" fmla="*/ 54 h 74"/>
              <a:gd name="T58" fmla="*/ 56 w 60"/>
              <a:gd name="T59" fmla="*/ 48 h 74"/>
              <a:gd name="T60" fmla="*/ 54 w 60"/>
              <a:gd name="T61" fmla="*/ 44 h 74"/>
              <a:gd name="T62" fmla="*/ 50 w 60"/>
              <a:gd name="T63" fmla="*/ 40 h 74"/>
              <a:gd name="T64" fmla="*/ 44 w 60"/>
              <a:gd name="T65" fmla="*/ 38 h 74"/>
              <a:gd name="T66" fmla="*/ 44 w 60"/>
              <a:gd name="T67" fmla="*/ 38 h 74"/>
              <a:gd name="T68" fmla="*/ 36 w 60"/>
              <a:gd name="T69" fmla="*/ 32 h 74"/>
              <a:gd name="T70" fmla="*/ 36 w 60"/>
              <a:gd name="T71" fmla="*/ 32 h 74"/>
              <a:gd name="T72" fmla="*/ 16 w 60"/>
              <a:gd name="T73" fmla="*/ 32 h 74"/>
              <a:gd name="T74" fmla="*/ 16 w 60"/>
              <a:gd name="T75" fmla="*/ 12 h 74"/>
              <a:gd name="T76" fmla="*/ 16 w 60"/>
              <a:gd name="T77" fmla="*/ 12 h 74"/>
              <a:gd name="T78" fmla="*/ 36 w 60"/>
              <a:gd name="T79" fmla="*/ 12 h 74"/>
              <a:gd name="T80" fmla="*/ 36 w 60"/>
              <a:gd name="T81" fmla="*/ 12 h 74"/>
              <a:gd name="T82" fmla="*/ 42 w 60"/>
              <a:gd name="T83" fmla="*/ 16 h 74"/>
              <a:gd name="T84" fmla="*/ 44 w 60"/>
              <a:gd name="T85" fmla="*/ 18 h 74"/>
              <a:gd name="T86" fmla="*/ 44 w 60"/>
              <a:gd name="T87" fmla="*/ 22 h 74"/>
              <a:gd name="T88" fmla="*/ 44 w 60"/>
              <a:gd name="T89" fmla="*/ 22 h 74"/>
              <a:gd name="T90" fmla="*/ 42 w 60"/>
              <a:gd name="T91" fmla="*/ 28 h 74"/>
              <a:gd name="T92" fmla="*/ 40 w 60"/>
              <a:gd name="T93" fmla="*/ 30 h 74"/>
              <a:gd name="T94" fmla="*/ 36 w 60"/>
              <a:gd name="T95" fmla="*/ 32 h 74"/>
              <a:gd name="T96" fmla="*/ 36 w 60"/>
              <a:gd name="T97" fmla="*/ 32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0" h="74">
                <a:moveTo>
                  <a:pt x="44" y="38"/>
                </a:moveTo>
                <a:lnTo>
                  <a:pt x="44" y="38"/>
                </a:lnTo>
                <a:lnTo>
                  <a:pt x="50" y="36"/>
                </a:lnTo>
                <a:lnTo>
                  <a:pt x="54" y="32"/>
                </a:lnTo>
                <a:lnTo>
                  <a:pt x="58" y="28"/>
                </a:lnTo>
                <a:lnTo>
                  <a:pt x="60" y="18"/>
                </a:lnTo>
                <a:lnTo>
                  <a:pt x="60" y="18"/>
                </a:lnTo>
                <a:lnTo>
                  <a:pt x="56" y="10"/>
                </a:lnTo>
                <a:lnTo>
                  <a:pt x="52" y="4"/>
                </a:lnTo>
                <a:lnTo>
                  <a:pt x="44" y="2"/>
                </a:lnTo>
                <a:lnTo>
                  <a:pt x="36" y="0"/>
                </a:lnTo>
                <a:lnTo>
                  <a:pt x="36" y="0"/>
                </a:lnTo>
                <a:lnTo>
                  <a:pt x="0" y="0"/>
                </a:lnTo>
                <a:lnTo>
                  <a:pt x="0" y="74"/>
                </a:lnTo>
                <a:lnTo>
                  <a:pt x="16" y="74"/>
                </a:lnTo>
                <a:lnTo>
                  <a:pt x="16" y="44"/>
                </a:lnTo>
                <a:lnTo>
                  <a:pt x="16" y="44"/>
                </a:lnTo>
                <a:lnTo>
                  <a:pt x="34" y="44"/>
                </a:lnTo>
                <a:lnTo>
                  <a:pt x="34" y="44"/>
                </a:lnTo>
                <a:lnTo>
                  <a:pt x="38" y="46"/>
                </a:lnTo>
                <a:lnTo>
                  <a:pt x="40" y="50"/>
                </a:lnTo>
                <a:lnTo>
                  <a:pt x="44" y="60"/>
                </a:lnTo>
                <a:lnTo>
                  <a:pt x="44" y="70"/>
                </a:lnTo>
                <a:lnTo>
                  <a:pt x="44" y="74"/>
                </a:lnTo>
                <a:lnTo>
                  <a:pt x="46" y="74"/>
                </a:lnTo>
                <a:lnTo>
                  <a:pt x="60" y="74"/>
                </a:lnTo>
                <a:lnTo>
                  <a:pt x="60" y="74"/>
                </a:lnTo>
                <a:lnTo>
                  <a:pt x="58" y="64"/>
                </a:lnTo>
                <a:lnTo>
                  <a:pt x="58" y="54"/>
                </a:lnTo>
                <a:lnTo>
                  <a:pt x="56" y="48"/>
                </a:lnTo>
                <a:lnTo>
                  <a:pt x="54" y="44"/>
                </a:lnTo>
                <a:lnTo>
                  <a:pt x="50" y="40"/>
                </a:lnTo>
                <a:lnTo>
                  <a:pt x="44" y="38"/>
                </a:lnTo>
                <a:lnTo>
                  <a:pt x="44" y="38"/>
                </a:lnTo>
                <a:close/>
                <a:moveTo>
                  <a:pt x="36" y="32"/>
                </a:moveTo>
                <a:lnTo>
                  <a:pt x="36" y="32"/>
                </a:lnTo>
                <a:lnTo>
                  <a:pt x="16" y="32"/>
                </a:lnTo>
                <a:lnTo>
                  <a:pt x="16" y="12"/>
                </a:lnTo>
                <a:lnTo>
                  <a:pt x="1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6"/>
                </a:lnTo>
                <a:lnTo>
                  <a:pt x="44" y="18"/>
                </a:lnTo>
                <a:lnTo>
                  <a:pt x="44" y="22"/>
                </a:lnTo>
                <a:lnTo>
                  <a:pt x="44" y="22"/>
                </a:lnTo>
                <a:lnTo>
                  <a:pt x="42" y="28"/>
                </a:lnTo>
                <a:lnTo>
                  <a:pt x="40" y="30"/>
                </a:lnTo>
                <a:lnTo>
                  <a:pt x="36" y="32"/>
                </a:lnTo>
                <a:lnTo>
                  <a:pt x="36" y="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58" name="Freeform 434"/>
          <p:cNvSpPr>
            <a:spLocks/>
          </p:cNvSpPr>
          <p:nvPr/>
        </p:nvSpPr>
        <p:spPr bwMode="gray">
          <a:xfrm>
            <a:off x="9642873" y="736601"/>
            <a:ext cx="48154" cy="55563"/>
          </a:xfrm>
          <a:custGeom>
            <a:avLst/>
            <a:gdLst>
              <a:gd name="T0" fmla="*/ 0 w 64"/>
              <a:gd name="T1" fmla="*/ 54 h 78"/>
              <a:gd name="T2" fmla="*/ 8 w 64"/>
              <a:gd name="T3" fmla="*/ 70 h 78"/>
              <a:gd name="T4" fmla="*/ 18 w 64"/>
              <a:gd name="T5" fmla="*/ 76 h 78"/>
              <a:gd name="T6" fmla="*/ 32 w 64"/>
              <a:gd name="T7" fmla="*/ 78 h 78"/>
              <a:gd name="T8" fmla="*/ 46 w 64"/>
              <a:gd name="T9" fmla="*/ 78 h 78"/>
              <a:gd name="T10" fmla="*/ 58 w 64"/>
              <a:gd name="T11" fmla="*/ 68 h 78"/>
              <a:gd name="T12" fmla="*/ 64 w 64"/>
              <a:gd name="T13" fmla="*/ 60 h 78"/>
              <a:gd name="T14" fmla="*/ 64 w 64"/>
              <a:gd name="T15" fmla="*/ 54 h 78"/>
              <a:gd name="T16" fmla="*/ 56 w 64"/>
              <a:gd name="T17" fmla="*/ 40 h 78"/>
              <a:gd name="T18" fmla="*/ 42 w 64"/>
              <a:gd name="T19" fmla="*/ 34 h 78"/>
              <a:gd name="T20" fmla="*/ 20 w 64"/>
              <a:gd name="T21" fmla="*/ 26 h 78"/>
              <a:gd name="T22" fmla="*/ 18 w 64"/>
              <a:gd name="T23" fmla="*/ 22 h 78"/>
              <a:gd name="T24" fmla="*/ 22 w 64"/>
              <a:gd name="T25" fmla="*/ 14 h 78"/>
              <a:gd name="T26" fmla="*/ 34 w 64"/>
              <a:gd name="T27" fmla="*/ 12 h 78"/>
              <a:gd name="T28" fmla="*/ 40 w 64"/>
              <a:gd name="T29" fmla="*/ 12 h 78"/>
              <a:gd name="T30" fmla="*/ 46 w 64"/>
              <a:gd name="T31" fmla="*/ 20 h 78"/>
              <a:gd name="T32" fmla="*/ 62 w 64"/>
              <a:gd name="T33" fmla="*/ 24 h 78"/>
              <a:gd name="T34" fmla="*/ 62 w 64"/>
              <a:gd name="T35" fmla="*/ 18 h 78"/>
              <a:gd name="T36" fmla="*/ 54 w 64"/>
              <a:gd name="T37" fmla="*/ 6 h 78"/>
              <a:gd name="T38" fmla="*/ 42 w 64"/>
              <a:gd name="T39" fmla="*/ 0 h 78"/>
              <a:gd name="T40" fmla="*/ 32 w 64"/>
              <a:gd name="T41" fmla="*/ 0 h 78"/>
              <a:gd name="T42" fmla="*/ 10 w 64"/>
              <a:gd name="T43" fmla="*/ 8 h 78"/>
              <a:gd name="T44" fmla="*/ 4 w 64"/>
              <a:gd name="T45" fmla="*/ 24 h 78"/>
              <a:gd name="T46" fmla="*/ 6 w 64"/>
              <a:gd name="T47" fmla="*/ 32 h 78"/>
              <a:gd name="T48" fmla="*/ 18 w 64"/>
              <a:gd name="T49" fmla="*/ 42 h 78"/>
              <a:gd name="T50" fmla="*/ 42 w 64"/>
              <a:gd name="T51" fmla="*/ 48 h 78"/>
              <a:gd name="T52" fmla="*/ 48 w 64"/>
              <a:gd name="T53" fmla="*/ 56 h 78"/>
              <a:gd name="T54" fmla="*/ 46 w 64"/>
              <a:gd name="T55" fmla="*/ 62 h 78"/>
              <a:gd name="T56" fmla="*/ 38 w 64"/>
              <a:gd name="T57" fmla="*/ 66 h 78"/>
              <a:gd name="T58" fmla="*/ 32 w 64"/>
              <a:gd name="T59" fmla="*/ 66 h 78"/>
              <a:gd name="T60" fmla="*/ 20 w 64"/>
              <a:gd name="T61" fmla="*/ 62 h 78"/>
              <a:gd name="T62" fmla="*/ 16 w 64"/>
              <a:gd name="T63" fmla="*/ 54 h 78"/>
              <a:gd name="T64" fmla="*/ 0 w 64"/>
              <a:gd name="T65" fmla="*/ 5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4" h="78">
                <a:moveTo>
                  <a:pt x="0" y="54"/>
                </a:moveTo>
                <a:lnTo>
                  <a:pt x="0" y="54"/>
                </a:lnTo>
                <a:lnTo>
                  <a:pt x="2" y="62"/>
                </a:lnTo>
                <a:lnTo>
                  <a:pt x="8" y="70"/>
                </a:lnTo>
                <a:lnTo>
                  <a:pt x="12" y="74"/>
                </a:lnTo>
                <a:lnTo>
                  <a:pt x="18" y="76"/>
                </a:lnTo>
                <a:lnTo>
                  <a:pt x="24" y="78"/>
                </a:lnTo>
                <a:lnTo>
                  <a:pt x="32" y="78"/>
                </a:lnTo>
                <a:lnTo>
                  <a:pt x="32" y="78"/>
                </a:lnTo>
                <a:lnTo>
                  <a:pt x="46" y="78"/>
                </a:lnTo>
                <a:lnTo>
                  <a:pt x="54" y="72"/>
                </a:lnTo>
                <a:lnTo>
                  <a:pt x="58" y="68"/>
                </a:lnTo>
                <a:lnTo>
                  <a:pt x="62" y="64"/>
                </a:lnTo>
                <a:lnTo>
                  <a:pt x="64" y="60"/>
                </a:lnTo>
                <a:lnTo>
                  <a:pt x="64" y="54"/>
                </a:lnTo>
                <a:lnTo>
                  <a:pt x="64" y="54"/>
                </a:lnTo>
                <a:lnTo>
                  <a:pt x="62" y="46"/>
                </a:lnTo>
                <a:lnTo>
                  <a:pt x="56" y="40"/>
                </a:lnTo>
                <a:lnTo>
                  <a:pt x="50" y="36"/>
                </a:lnTo>
                <a:lnTo>
                  <a:pt x="42" y="34"/>
                </a:lnTo>
                <a:lnTo>
                  <a:pt x="26" y="28"/>
                </a:lnTo>
                <a:lnTo>
                  <a:pt x="20" y="26"/>
                </a:lnTo>
                <a:lnTo>
                  <a:pt x="18" y="22"/>
                </a:lnTo>
                <a:lnTo>
                  <a:pt x="18" y="22"/>
                </a:lnTo>
                <a:lnTo>
                  <a:pt x="20" y="18"/>
                </a:lnTo>
                <a:lnTo>
                  <a:pt x="22" y="14"/>
                </a:lnTo>
                <a:lnTo>
                  <a:pt x="26" y="12"/>
                </a:lnTo>
                <a:lnTo>
                  <a:pt x="34" y="12"/>
                </a:lnTo>
                <a:lnTo>
                  <a:pt x="34" y="12"/>
                </a:lnTo>
                <a:lnTo>
                  <a:pt x="40" y="12"/>
                </a:lnTo>
                <a:lnTo>
                  <a:pt x="44" y="16"/>
                </a:lnTo>
                <a:lnTo>
                  <a:pt x="46" y="20"/>
                </a:lnTo>
                <a:lnTo>
                  <a:pt x="48" y="24"/>
                </a:lnTo>
                <a:lnTo>
                  <a:pt x="62" y="24"/>
                </a:lnTo>
                <a:lnTo>
                  <a:pt x="62" y="24"/>
                </a:lnTo>
                <a:lnTo>
                  <a:pt x="62" y="18"/>
                </a:lnTo>
                <a:lnTo>
                  <a:pt x="58" y="10"/>
                </a:lnTo>
                <a:lnTo>
                  <a:pt x="54" y="6"/>
                </a:lnTo>
                <a:lnTo>
                  <a:pt x="48" y="2"/>
                </a:lnTo>
                <a:lnTo>
                  <a:pt x="42" y="0"/>
                </a:lnTo>
                <a:lnTo>
                  <a:pt x="32" y="0"/>
                </a:lnTo>
                <a:lnTo>
                  <a:pt x="32" y="0"/>
                </a:lnTo>
                <a:lnTo>
                  <a:pt x="20" y="2"/>
                </a:lnTo>
                <a:lnTo>
                  <a:pt x="10" y="8"/>
                </a:lnTo>
                <a:lnTo>
                  <a:pt x="4" y="16"/>
                </a:lnTo>
                <a:lnTo>
                  <a:pt x="4" y="24"/>
                </a:lnTo>
                <a:lnTo>
                  <a:pt x="4" y="24"/>
                </a:lnTo>
                <a:lnTo>
                  <a:pt x="6" y="32"/>
                </a:lnTo>
                <a:lnTo>
                  <a:pt x="10" y="38"/>
                </a:lnTo>
                <a:lnTo>
                  <a:pt x="18" y="42"/>
                </a:lnTo>
                <a:lnTo>
                  <a:pt x="26" y="44"/>
                </a:lnTo>
                <a:lnTo>
                  <a:pt x="42" y="48"/>
                </a:lnTo>
                <a:lnTo>
                  <a:pt x="46" y="52"/>
                </a:lnTo>
                <a:lnTo>
                  <a:pt x="48" y="56"/>
                </a:lnTo>
                <a:lnTo>
                  <a:pt x="48" y="56"/>
                </a:lnTo>
                <a:lnTo>
                  <a:pt x="46" y="62"/>
                </a:lnTo>
                <a:lnTo>
                  <a:pt x="42" y="64"/>
                </a:lnTo>
                <a:lnTo>
                  <a:pt x="38" y="66"/>
                </a:lnTo>
                <a:lnTo>
                  <a:pt x="32" y="66"/>
                </a:lnTo>
                <a:lnTo>
                  <a:pt x="32" y="66"/>
                </a:lnTo>
                <a:lnTo>
                  <a:pt x="24" y="66"/>
                </a:lnTo>
                <a:lnTo>
                  <a:pt x="20" y="62"/>
                </a:lnTo>
                <a:lnTo>
                  <a:pt x="16" y="58"/>
                </a:lnTo>
                <a:lnTo>
                  <a:pt x="16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59" name="Text Box 435"/>
          <p:cNvSpPr txBox="1">
            <a:spLocks noChangeArrowheads="1"/>
          </p:cNvSpPr>
          <p:nvPr/>
        </p:nvSpPr>
        <p:spPr bwMode="gray">
          <a:xfrm>
            <a:off x="9211205" y="6573839"/>
            <a:ext cx="684477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fld id="{D26A58A4-FF26-4DF0-A633-1359ECFBDA60}" type="slidenum">
              <a:rPr lang="en-US" sz="1200" smtClean="0">
                <a:solidFill>
                  <a:srgbClr val="B0002D"/>
                </a:solidFill>
                <a:cs typeface="+mn-cs"/>
              </a:rPr>
              <a:pPr algn="ctr">
                <a:spcBef>
                  <a:spcPct val="50000"/>
                </a:spcBef>
              </a:pPr>
              <a:t>‹#›</a:t>
            </a:fld>
            <a:endParaRPr lang="en-US" sz="1200" dirty="0">
              <a:solidFill>
                <a:srgbClr val="B0002D"/>
              </a:solidFill>
              <a:cs typeface="+mn-cs"/>
            </a:endParaRPr>
          </a:p>
        </p:txBody>
      </p:sp>
      <p:sp>
        <p:nvSpPr>
          <p:cNvPr id="1471" name="Text Box 447"/>
          <p:cNvSpPr txBox="1">
            <a:spLocks noChangeArrowheads="1"/>
          </p:cNvSpPr>
          <p:nvPr/>
        </p:nvSpPr>
        <p:spPr bwMode="auto">
          <a:xfrm>
            <a:off x="0" y="6581776"/>
            <a:ext cx="99060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000" b="1" dirty="0" err="1" smtClean="0">
                <a:solidFill>
                  <a:srgbClr val="B0002D"/>
                </a:solidFill>
                <a:cs typeface="+mn-cs"/>
              </a:rPr>
              <a:t>VeriSTAR</a:t>
            </a:r>
            <a:r>
              <a:rPr lang="en-US" sz="1000" b="1" baseline="0" dirty="0" smtClean="0">
                <a:solidFill>
                  <a:srgbClr val="B0002D"/>
                </a:solidFill>
                <a:cs typeface="+mn-cs"/>
              </a:rPr>
              <a:t> Dangerous Goods &amp; Bulk</a:t>
            </a:r>
            <a:r>
              <a:rPr lang="en-US" sz="1000" b="1" dirty="0" smtClean="0">
                <a:solidFill>
                  <a:srgbClr val="B0002D"/>
                </a:solidFill>
                <a:cs typeface="+mn-cs"/>
              </a:rPr>
              <a:t> </a:t>
            </a:r>
            <a:endParaRPr lang="en-US" sz="1000" b="1" dirty="0">
              <a:solidFill>
                <a:srgbClr val="B0002D"/>
              </a:solidFill>
              <a:cs typeface="+mn-cs"/>
            </a:endParaRPr>
          </a:p>
        </p:txBody>
      </p:sp>
      <p:sp>
        <p:nvSpPr>
          <p:cNvPr id="1466" name="Rectangle 442"/>
          <p:cNvSpPr>
            <a:spLocks noChangeArrowheads="1"/>
          </p:cNvSpPr>
          <p:nvPr/>
        </p:nvSpPr>
        <p:spPr bwMode="gray">
          <a:xfrm flipH="1">
            <a:off x="739511" y="6550026"/>
            <a:ext cx="9166490" cy="22225"/>
          </a:xfrm>
          <a:prstGeom prst="rect">
            <a:avLst/>
          </a:prstGeom>
          <a:gradFill rotWithShape="1">
            <a:gsLst>
              <a:gs pos="0">
                <a:schemeClr val="hlink"/>
              </a:gs>
              <a:gs pos="100000">
                <a:srgbClr val="F1F0EF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70000"/>
              </a:spcBef>
              <a:buFontTx/>
              <a:buChar char="•"/>
            </a:pPr>
            <a:endParaRPr lang="en-US" sz="1600" dirty="0">
              <a:solidFill>
                <a:srgbClr val="19324B"/>
              </a:solidFill>
              <a:cs typeface="+mn-cs"/>
            </a:endParaRPr>
          </a:p>
        </p:txBody>
      </p:sp>
      <p:sp>
        <p:nvSpPr>
          <p:cNvPr id="1474" name="Text Box 450"/>
          <p:cNvSpPr txBox="1">
            <a:spLocks noChangeArrowheads="1"/>
          </p:cNvSpPr>
          <p:nvPr/>
        </p:nvSpPr>
        <p:spPr bwMode="gray">
          <a:xfrm>
            <a:off x="294085" y="6623051"/>
            <a:ext cx="1503938" cy="203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438150" indent="-174625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860425" indent="-288925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141413" indent="-2794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1457325" indent="-314325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1914525" indent="-314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71725" indent="-314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28925" indent="-314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86125" indent="-314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70000"/>
              </a:spcBef>
            </a:pPr>
            <a:r>
              <a:rPr lang="en-US" sz="800" dirty="0">
                <a:solidFill>
                  <a:srgbClr val="68665C"/>
                </a:solidFill>
              </a:rPr>
              <a:t>© - </a:t>
            </a:r>
            <a:r>
              <a:rPr lang="en-US" sz="800" dirty="0">
                <a:solidFill>
                  <a:srgbClr val="68665C"/>
                </a:solidFill>
                <a:cs typeface="+mn-cs"/>
              </a:rPr>
              <a:t>Copyright Bureau </a:t>
            </a:r>
            <a:r>
              <a:rPr lang="en-US" sz="800" dirty="0" err="1">
                <a:solidFill>
                  <a:srgbClr val="68665C"/>
                </a:solidFill>
                <a:cs typeface="+mn-cs"/>
              </a:rPr>
              <a:t>Veritas</a:t>
            </a:r>
            <a:endParaRPr lang="en-US" sz="800" dirty="0">
              <a:solidFill>
                <a:srgbClr val="68665C"/>
              </a:solidFill>
              <a:cs typeface="+mn-cs"/>
            </a:endParaRPr>
          </a:p>
        </p:txBody>
      </p:sp>
      <p:sp>
        <p:nvSpPr>
          <p:cNvPr id="85" name="Date Placeholder 84"/>
          <p:cNvSpPr>
            <a:spLocks noGrp="1"/>
          </p:cNvSpPr>
          <p:nvPr>
            <p:ph type="dt" sz="half" idx="2"/>
          </p:nvPr>
        </p:nvSpPr>
        <p:spPr>
          <a:xfrm>
            <a:off x="7750212" y="6572300"/>
            <a:ext cx="1103221" cy="285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FontTx/>
              <a:buNone/>
              <a:defRPr sz="900" b="1">
                <a:solidFill>
                  <a:srgbClr val="B0002D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ct val="70000"/>
              </a:spcBef>
            </a:pPr>
            <a:fld id="{86FB2189-F9F9-4E3E-888C-B6240803A74B}" type="datetime4">
              <a:rPr lang="en-US" smtClean="0">
                <a:cs typeface="+mn-cs"/>
              </a:rPr>
              <a:t>June 29, 2017</a:t>
            </a:fld>
            <a:endParaRPr lang="en-US" dirty="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p:transition advClick="0"/>
  <p:timing>
    <p:tnLst>
      <p:par>
        <p:cTn id="1" dur="indefinite" restart="never" nodeType="tmRoot"/>
      </p:par>
    </p:tnLst>
  </p:timing>
  <p:hf sldNum="0" hdr="0" dt="0"/>
  <p:txStyles>
    <p:titleStyle>
      <a:lvl1pPr marL="457200" indent="-4572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hlink"/>
          </a:solidFill>
          <a:latin typeface="Calibri" pitchFamily="34" charset="0"/>
          <a:ea typeface="+mj-ea"/>
          <a:cs typeface="+mj-cs"/>
        </a:defRPr>
      </a:lvl1pPr>
      <a:lvl2pPr marL="457200" indent="-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2pPr>
      <a:lvl3pPr marL="457200" indent="-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3pPr>
      <a:lvl4pPr marL="457200" indent="-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4pPr>
      <a:lvl5pPr marL="457200" indent="-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5pPr>
      <a:lvl6pPr marL="914400" indent="-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6pPr>
      <a:lvl7pPr marL="1371600" indent="-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7pPr>
      <a:lvl8pPr marL="1828800" indent="-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8pPr>
      <a:lvl9pPr marL="2286000" indent="-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9pPr>
    </p:titleStyle>
    <p:bodyStyle>
      <a:lvl1pPr marL="261938" indent="-261938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lr>
          <a:schemeClr val="hlink"/>
        </a:buClr>
        <a:buSzPct val="85000"/>
        <a:buFont typeface="Arial" charset="0"/>
        <a:buChar char="►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438150" indent="-174625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l"/>
        <a:defRPr>
          <a:solidFill>
            <a:schemeClr val="tx1"/>
          </a:solidFill>
          <a:latin typeface="+mn-lt"/>
        </a:defRPr>
      </a:lvl2pPr>
      <a:lvl3pPr marL="860425" indent="-288925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141413" indent="-279400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4pPr>
      <a:lvl5pPr marL="1457325" indent="-314325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5pPr>
      <a:lvl6pPr marL="1914525" indent="-314325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6pPr>
      <a:lvl7pPr marL="2371725" indent="-314325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7pPr>
      <a:lvl8pPr marL="2828925" indent="-314325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8pPr>
      <a:lvl9pPr marL="3286125" indent="-314325" algn="l" rtl="0" eaLnBrk="1" fontAlgn="base" hangingPunct="1">
        <a:lnSpc>
          <a:spcPct val="90000"/>
        </a:lnSpc>
        <a:spcBef>
          <a:spcPct val="7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mailto:member3@gmail.com" TargetMode="External"/><Relationship Id="rId3" Type="http://schemas.openxmlformats.org/officeDocument/2006/relationships/hyperlink" Target="mailto:dmin@gmail.com" TargetMode="External"/><Relationship Id="rId7" Type="http://schemas.openxmlformats.org/officeDocument/2006/relationships/hyperlink" Target="mailto:member2@gmail.com" TargetMode="External"/><Relationship Id="rId2" Type="http://schemas.openxmlformats.org/officeDocument/2006/relationships/hyperlink" Target="mailto:bv.ism.analytics@gmail.com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mailto:member1@gmail.com" TargetMode="External"/><Relationship Id="rId5" Type="http://schemas.openxmlformats.org/officeDocument/2006/relationships/hyperlink" Target="http://www.dgb.veristar.com/" TargetMode="External"/><Relationship Id="rId4" Type="http://schemas.openxmlformats.org/officeDocument/2006/relationships/hyperlink" Target="mailto:pleandri@gmail.com" TargetMode="Externa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mailto:pleandri@gmail.com" TargetMode="External"/><Relationship Id="rId7" Type="http://schemas.openxmlformats.org/officeDocument/2006/relationships/hyperlink" Target="mailto:member3@gmail.com" TargetMode="External"/><Relationship Id="rId2" Type="http://schemas.openxmlformats.org/officeDocument/2006/relationships/hyperlink" Target="mailto:dmin@gmail.com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mailto:member2@gmail.com" TargetMode="External"/><Relationship Id="rId5" Type="http://schemas.openxmlformats.org/officeDocument/2006/relationships/hyperlink" Target="mailto:member1@gmail.com" TargetMode="External"/><Relationship Id="rId4" Type="http://schemas.openxmlformats.org/officeDocument/2006/relationships/hyperlink" Target="http://www.dgb.veristar.com/" TargetMode="Externa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mailto:bv.ism.analytics@gmail.com" TargetMode="Externa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3"/>
          <p:cNvSpPr txBox="1">
            <a:spLocks noChangeArrowheads="1"/>
          </p:cNvSpPr>
          <p:nvPr/>
        </p:nvSpPr>
        <p:spPr bwMode="auto">
          <a:xfrm>
            <a:off x="1013395" y="3141004"/>
            <a:ext cx="8404225" cy="158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sz="2400" b="1" dirty="0" smtClean="0">
                <a:solidFill>
                  <a:srgbClr val="B0002D"/>
                </a:solidFill>
                <a:latin typeface="Calibri" pitchFamily="34" charset="0"/>
                <a:ea typeface="ＭＳ Ｐゴシック" pitchFamily="34" charset="-128"/>
                <a:cs typeface="Arial" charset="0"/>
              </a:rPr>
              <a:t>BUREAU VERITAS</a:t>
            </a:r>
            <a:endParaRPr lang="en-US" sz="2400" dirty="0" smtClean="0">
              <a:solidFill>
                <a:srgbClr val="B0002D"/>
              </a:solidFill>
              <a:latin typeface="Calibri" pitchFamily="34" charset="0"/>
              <a:ea typeface="ＭＳ Ｐゴシック" pitchFamily="34" charset="-128"/>
            </a:endParaRPr>
          </a:p>
          <a:p>
            <a:pPr algn="r" eaLnBrk="1" hangingPunct="1">
              <a:spcBef>
                <a:spcPct val="0"/>
              </a:spcBef>
              <a:buNone/>
            </a:pPr>
            <a:r>
              <a:rPr lang="en-US" sz="2400" dirty="0" smtClean="0">
                <a:solidFill>
                  <a:srgbClr val="B0002D"/>
                </a:solidFill>
                <a:latin typeface="Calibri" pitchFamily="34" charset="0"/>
                <a:ea typeface="ＭＳ Ｐゴシック" pitchFamily="34" charset="-128"/>
              </a:rPr>
              <a:t>ISM – Google Analytics administration proces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480900" y="4941210"/>
            <a:ext cx="2936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 smtClean="0">
                <a:solidFill>
                  <a:srgbClr val="000000"/>
                </a:solidFill>
                <a:latin typeface="Calibri" pitchFamily="34" charset="0"/>
              </a:rPr>
              <a:t>June 2017</a:t>
            </a: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à coins arrondis 9"/>
          <p:cNvSpPr/>
          <p:nvPr/>
        </p:nvSpPr>
        <p:spPr bwMode="auto">
          <a:xfrm>
            <a:off x="2000590" y="332570"/>
            <a:ext cx="352849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Create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ccount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in Google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416371" y="1220632"/>
            <a:ext cx="9361299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/>
              <a:t>In case </a:t>
            </a:r>
            <a:r>
              <a:rPr lang="fr-FR" sz="1400" dirty="0" err="1" smtClean="0"/>
              <a:t>several</a:t>
            </a:r>
            <a:r>
              <a:rPr lang="fr-FR" sz="1400" dirty="0" smtClean="0"/>
              <a:t> </a:t>
            </a:r>
            <a:r>
              <a:rPr lang="fr-FR" sz="1400" dirty="0" err="1" smtClean="0"/>
              <a:t>environments</a:t>
            </a:r>
            <a:r>
              <a:rPr lang="fr-FR" sz="1400" dirty="0" smtClean="0"/>
              <a:t>’ </a:t>
            </a:r>
            <a:r>
              <a:rPr lang="fr-FR" sz="1400" dirty="0" err="1" smtClean="0"/>
              <a:t>tracking</a:t>
            </a:r>
            <a:r>
              <a:rPr lang="fr-FR" sz="1400" dirty="0" smtClean="0"/>
              <a:t> </a:t>
            </a:r>
            <a:r>
              <a:rPr lang="fr-FR" sz="1400" dirty="0" err="1"/>
              <a:t>i</a:t>
            </a:r>
            <a:r>
              <a:rPr lang="fr-FR" sz="1400" dirty="0" err="1" smtClean="0"/>
              <a:t>s</a:t>
            </a:r>
            <a:r>
              <a:rPr lang="fr-FR" sz="1400" dirty="0" smtClean="0"/>
              <a:t> </a:t>
            </a:r>
            <a:r>
              <a:rPr lang="fr-FR" sz="1400" dirty="0" err="1" smtClean="0"/>
              <a:t>requested</a:t>
            </a:r>
            <a:r>
              <a:rPr lang="fr-FR" sz="1400" dirty="0" smtClean="0"/>
              <a:t> :</a:t>
            </a:r>
          </a:p>
          <a:p>
            <a:endParaRPr lang="fr-FR" sz="1200" dirty="0" smtClean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r>
              <a:rPr lang="fr-FR" sz="1400" dirty="0" smtClean="0"/>
              <a:t>Go to the administration interface</a:t>
            </a:r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r>
              <a:rPr lang="fr-FR" sz="1400" dirty="0" smtClean="0"/>
              <a:t>Click on the </a:t>
            </a:r>
            <a:r>
              <a:rPr lang="fr-FR" sz="1400" dirty="0" err="1" smtClean="0"/>
              <a:t>properties</a:t>
            </a:r>
            <a:r>
              <a:rPr lang="fr-FR" sz="1400" dirty="0" smtClean="0"/>
              <a:t>’ </a:t>
            </a:r>
            <a:r>
              <a:rPr lang="fr-FR" sz="1400" dirty="0" err="1" smtClean="0"/>
              <a:t>list</a:t>
            </a:r>
            <a:endParaRPr lang="fr-FR" sz="1400" dirty="0" smtClean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r>
              <a:rPr lang="fr-FR" sz="1400" dirty="0" err="1" smtClean="0"/>
              <a:t>Create</a:t>
            </a:r>
            <a:r>
              <a:rPr lang="fr-FR" sz="1400" dirty="0" smtClean="0"/>
              <a:t> a new </a:t>
            </a:r>
            <a:r>
              <a:rPr lang="fr-FR" sz="1400" dirty="0" err="1" smtClean="0"/>
              <a:t>property</a:t>
            </a:r>
            <a:r>
              <a:rPr lang="fr-FR" sz="1400" dirty="0" smtClean="0"/>
              <a:t> for </a:t>
            </a:r>
            <a:r>
              <a:rPr lang="fr-FR" sz="1400" dirty="0" err="1" smtClean="0"/>
              <a:t>each</a:t>
            </a:r>
            <a:r>
              <a:rPr lang="fr-FR" sz="1400" dirty="0" smtClean="0"/>
              <a:t> </a:t>
            </a:r>
            <a:r>
              <a:rPr lang="fr-FR" sz="1400" dirty="0" err="1" smtClean="0"/>
              <a:t>environment</a:t>
            </a:r>
            <a:endParaRPr lang="fr-FR" sz="1400" dirty="0" smtClean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 smtClean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 smtClean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 smtClean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 smtClean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 smtClean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 smtClean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r>
              <a:rPr lang="fr-FR" sz="1400" dirty="0" err="1" smtClean="0"/>
              <a:t>Fill</a:t>
            </a:r>
            <a:r>
              <a:rPr lang="fr-FR" sz="1400" dirty="0" smtClean="0"/>
              <a:t> in the </a:t>
            </a:r>
            <a:r>
              <a:rPr lang="fr-FR" sz="1400" dirty="0" err="1" smtClean="0"/>
              <a:t>property’s</a:t>
            </a:r>
            <a:r>
              <a:rPr lang="fr-FR" sz="1400" dirty="0" smtClean="0"/>
              <a:t> information (</a:t>
            </a:r>
            <a:r>
              <a:rPr lang="fr-FR" sz="1400" dirty="0" err="1" smtClean="0"/>
              <a:t>defined</a:t>
            </a:r>
            <a:r>
              <a:rPr lang="fr-FR" sz="1400" dirty="0" smtClean="0"/>
              <a:t> in the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)</a:t>
            </a:r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r>
              <a:rPr lang="fr-FR" sz="1400" dirty="0" err="1" smtClean="0"/>
              <a:t>Get</a:t>
            </a:r>
            <a:r>
              <a:rPr lang="fr-FR" sz="1400" dirty="0" smtClean="0"/>
              <a:t> the </a:t>
            </a:r>
            <a:r>
              <a:rPr lang="fr-FR" sz="1400" dirty="0" err="1" smtClean="0"/>
              <a:t>tracking</a:t>
            </a:r>
            <a:r>
              <a:rPr lang="fr-FR" sz="1400" dirty="0" smtClean="0"/>
              <a:t> ID</a:t>
            </a:r>
            <a:endParaRPr lang="fr-FR" sz="1400" dirty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 smtClean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/>
          </a:p>
          <a:p>
            <a:pPr marL="742950" lvl="1" indent="-285750">
              <a:buSzPct val="70000"/>
              <a:buFont typeface="Wingdings" panose="05000000000000000000" pitchFamily="2" charset="2"/>
              <a:buChar char="q"/>
            </a:pPr>
            <a:endParaRPr lang="fr-FR" sz="1400" dirty="0"/>
          </a:p>
          <a:p>
            <a:endParaRPr lang="fr-FR" sz="1400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0" y="2534789"/>
            <a:ext cx="8305800" cy="1981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4046103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932859"/>
              </p:ext>
            </p:extLst>
          </p:nvPr>
        </p:nvGraphicFramePr>
        <p:xfrm>
          <a:off x="488380" y="1543840"/>
          <a:ext cx="90012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9483"/>
                <a:gridCol w="6561767"/>
              </a:tblGrid>
              <a:tr h="257796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Permission</a:t>
                      </a:r>
                      <a:endParaRPr lang="fr-FR" dirty="0"/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Explanation</a:t>
                      </a:r>
                      <a:endParaRPr lang="fr-FR" dirty="0"/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Manage </a:t>
                      </a:r>
                      <a:r>
                        <a:rPr lang="fr-FR" sz="1600" dirty="0" err="1" smtClean="0"/>
                        <a:t>users</a:t>
                      </a:r>
                      <a:endParaRPr lang="fr-FR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 manage account users (add/delete users, assign permissions). </a:t>
                      </a:r>
                    </a:p>
                    <a:p>
                      <a:pPr marL="285750" indent="-285750" algn="just">
                        <a:buFont typeface="Courier New" panose="02070309020205020404" pitchFamily="49" charset="0"/>
                        <a:buChar char="o"/>
                      </a:pP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es not include Edit or Collaborate.</a:t>
                      </a:r>
                      <a:endParaRPr lang="fr-FR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Edit</a:t>
                      </a:r>
                      <a:endParaRPr lang="fr-FR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 perform administrative and report-related functions (e.g., add/edit/delete accounts, properties, views, filters, goals, etc., but not manage users), and see report data.</a:t>
                      </a:r>
                    </a:p>
                    <a:p>
                      <a:pPr marL="285750" indent="-285750" algn="just">
                        <a:buFont typeface="Courier New" panose="02070309020205020404" pitchFamily="49" charset="0"/>
                        <a:buChar char="o"/>
                      </a:pP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ludes Collaborate.</a:t>
                      </a:r>
                      <a:endParaRPr lang="fr-FR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600" dirty="0" err="1" smtClean="0"/>
                        <a:t>Collaborate</a:t>
                      </a:r>
                      <a:endParaRPr lang="fr-FR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 create personal assets, and share them. Can collaborate on shared assets, for example, edit a dashboard or annotation. </a:t>
                      </a:r>
                    </a:p>
                    <a:p>
                      <a:pPr marL="285750" indent="-285750" algn="just">
                        <a:buFont typeface="Courier New" panose="02070309020205020404" pitchFamily="49" charset="0"/>
                        <a:buChar char="o"/>
                      </a:pPr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ludes Read &amp; Analyze.</a:t>
                      </a:r>
                      <a:endParaRPr lang="fr-FR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 smtClean="0"/>
                        <a:t>Read &amp; </a:t>
                      </a:r>
                      <a:r>
                        <a:rPr lang="fr-FR" sz="1600" dirty="0" err="1" smtClean="0"/>
                        <a:t>Analyze</a:t>
                      </a:r>
                      <a:endParaRPr lang="fr-FR" sz="1600" dirty="0" smtClean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 see report and configuration data; can manipulate data within reports (e.g., filter a table, add a secondary dimension, create a segment); can create personal assets, and share them, and see shared assets. Cannot collaborate on shared assets.</a:t>
                      </a:r>
                      <a:endParaRPr lang="fr-FR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Rectangle à coins arrondis 4"/>
          <p:cNvSpPr/>
          <p:nvPr/>
        </p:nvSpPr>
        <p:spPr bwMode="auto">
          <a:xfrm>
            <a:off x="1784438" y="332570"/>
            <a:ext cx="3240572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Google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’ permissions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05730" y="282056"/>
            <a:ext cx="675185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NFO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028310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9213916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272351" y="836640"/>
            <a:ext cx="9361299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1400" dirty="0" smtClean="0"/>
          </a:p>
          <a:p>
            <a:r>
              <a:rPr lang="fr-FR" sz="1400" dirty="0" smtClean="0"/>
              <a:t>The </a:t>
            </a:r>
            <a:r>
              <a:rPr lang="fr-FR" sz="1400" dirty="0" err="1"/>
              <a:t>members</a:t>
            </a:r>
            <a:r>
              <a:rPr lang="fr-FR" sz="1400" dirty="0"/>
              <a:t> </a:t>
            </a:r>
            <a:r>
              <a:rPr lang="fr-FR" sz="1400" dirty="0" err="1"/>
              <a:t>will</a:t>
            </a:r>
            <a:r>
              <a:rPr lang="fr-FR" sz="1400" dirty="0"/>
              <a:t>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added</a:t>
            </a:r>
            <a:r>
              <a:rPr lang="fr-FR" sz="1400" dirty="0"/>
              <a:t> as </a:t>
            </a:r>
            <a:r>
              <a:rPr lang="fr-FR" sz="1400" dirty="0" err="1"/>
              <a:t>defined</a:t>
            </a:r>
            <a:r>
              <a:rPr lang="fr-FR" sz="1400" dirty="0"/>
              <a:t> in the GA </a:t>
            </a:r>
            <a:r>
              <a:rPr lang="fr-FR" sz="1400" dirty="0" err="1"/>
              <a:t>project</a:t>
            </a:r>
            <a:r>
              <a:rPr lang="fr-FR" sz="1400" dirty="0"/>
              <a:t> </a:t>
            </a:r>
            <a:r>
              <a:rPr lang="fr-FR" sz="1400" dirty="0" err="1"/>
              <a:t>creation</a:t>
            </a:r>
            <a:r>
              <a:rPr lang="fr-FR" sz="1400" dirty="0"/>
              <a:t> </a:t>
            </a:r>
            <a:r>
              <a:rPr lang="fr-FR" sz="1400" dirty="0" err="1" smtClean="0"/>
              <a:t>request</a:t>
            </a:r>
            <a:r>
              <a:rPr lang="fr-FR" sz="1400" dirty="0"/>
              <a:t>.</a:t>
            </a:r>
            <a:endParaRPr lang="fr-FR" sz="1400" dirty="0" smtClean="0"/>
          </a:p>
          <a:p>
            <a:endParaRPr lang="fr-FR" sz="1400" dirty="0"/>
          </a:p>
          <a:p>
            <a:endParaRPr lang="fr-FR" sz="1400" dirty="0" smtClean="0"/>
          </a:p>
          <a:p>
            <a:endParaRPr lang="fr-FR" sz="1400" dirty="0"/>
          </a:p>
          <a:p>
            <a:endParaRPr lang="fr-FR" sz="1400" dirty="0" smtClean="0"/>
          </a:p>
          <a:p>
            <a:endParaRPr lang="fr-FR" sz="1400" dirty="0"/>
          </a:p>
          <a:p>
            <a:endParaRPr lang="fr-FR" sz="1400" dirty="0" smtClean="0"/>
          </a:p>
          <a:p>
            <a:endParaRPr lang="fr-FR" sz="1400" dirty="0"/>
          </a:p>
          <a:p>
            <a:endParaRPr lang="fr-FR" sz="1400" dirty="0" smtClean="0"/>
          </a:p>
          <a:p>
            <a:endParaRPr lang="fr-FR" sz="1400" dirty="0"/>
          </a:p>
          <a:p>
            <a:endParaRPr lang="fr-FR" sz="1400" dirty="0" smtClean="0"/>
          </a:p>
          <a:p>
            <a:r>
              <a:rPr lang="fr-FR" sz="1400" dirty="0"/>
              <a:t>The </a:t>
            </a:r>
            <a:r>
              <a:rPr lang="fr-FR" sz="1400" dirty="0" err="1"/>
              <a:t>administrator</a:t>
            </a:r>
            <a:r>
              <a:rPr lang="fr-FR" sz="1400" dirty="0"/>
              <a:t> </a:t>
            </a:r>
            <a:r>
              <a:rPr lang="fr-FR" sz="1400" dirty="0" err="1"/>
              <a:t>may</a:t>
            </a:r>
            <a:r>
              <a:rPr lang="fr-FR" sz="1400" dirty="0"/>
              <a:t> </a:t>
            </a:r>
            <a:r>
              <a:rPr lang="fr-FR" sz="1400" dirty="0" err="1"/>
              <a:t>add</a:t>
            </a:r>
            <a:r>
              <a:rPr lang="fr-FR" sz="1400" dirty="0"/>
              <a:t> </a:t>
            </a:r>
            <a:r>
              <a:rPr lang="fr-FR" sz="1400" dirty="0" err="1"/>
              <a:t>users</a:t>
            </a:r>
            <a:r>
              <a:rPr lang="fr-FR" sz="1400" dirty="0"/>
              <a:t> in the </a:t>
            </a:r>
            <a:r>
              <a:rPr lang="fr-FR" sz="1400" dirty="0" err="1"/>
              <a:t>account</a:t>
            </a:r>
            <a:r>
              <a:rPr lang="fr-FR" sz="1400" dirty="0"/>
              <a:t>, the </a:t>
            </a:r>
            <a:r>
              <a:rPr lang="fr-FR" sz="1400" dirty="0" err="1"/>
              <a:t>property</a:t>
            </a:r>
            <a:r>
              <a:rPr lang="fr-FR" sz="1400" dirty="0"/>
              <a:t> or the </a:t>
            </a:r>
            <a:r>
              <a:rPr lang="fr-FR" sz="1400" dirty="0" err="1" smtClean="0"/>
              <a:t>view</a:t>
            </a:r>
            <a:r>
              <a:rPr lang="fr-FR" sz="1400" dirty="0"/>
              <a:t> </a:t>
            </a:r>
            <a:r>
              <a:rPr lang="fr-FR" sz="1400" dirty="0" smtClean="0"/>
              <a:t>:</a:t>
            </a:r>
          </a:p>
          <a:p>
            <a:endParaRPr lang="fr-FR" sz="1400" dirty="0" smtClean="0"/>
          </a:p>
          <a:p>
            <a:pPr marL="742950" lvl="1" indent="-285750" algn="just">
              <a:buFont typeface="Wingdings" panose="05000000000000000000" pitchFamily="2" charset="2"/>
              <a:buChar char="ü"/>
            </a:pPr>
            <a:r>
              <a:rPr lang="en-US" sz="1400" dirty="0"/>
              <a:t>Parent permissions are inherited by default (account &gt; property &gt; view). For example, when you set permissions for a user at the account level, that user then has those same permissions for all the properties and views in that account</a:t>
            </a:r>
            <a:r>
              <a:rPr lang="en-US" sz="1400" dirty="0" smtClean="0"/>
              <a:t>.</a:t>
            </a:r>
          </a:p>
          <a:p>
            <a:pPr lvl="1" algn="just"/>
            <a:endParaRPr lang="en-US" sz="1400" dirty="0"/>
          </a:p>
          <a:p>
            <a:pPr marL="742950" lvl="1" indent="-285750" algn="just">
              <a:buFont typeface="Wingdings" panose="05000000000000000000" pitchFamily="2" charset="2"/>
              <a:buChar char="ü"/>
            </a:pPr>
            <a:r>
              <a:rPr lang="en-US" sz="1400" dirty="0"/>
              <a:t>Permissions set for a child </a:t>
            </a:r>
            <a:r>
              <a:rPr lang="en-US" sz="1400" dirty="0" err="1"/>
              <a:t>supercede</a:t>
            </a:r>
            <a:r>
              <a:rPr lang="en-US" sz="1400" dirty="0"/>
              <a:t> permissions set for the parent</a:t>
            </a:r>
            <a:r>
              <a:rPr lang="en-US" sz="1400" dirty="0" smtClean="0"/>
              <a:t>.</a:t>
            </a:r>
          </a:p>
          <a:p>
            <a:pPr lvl="1" algn="just"/>
            <a:endParaRPr lang="en-US" sz="1400" dirty="0"/>
          </a:p>
          <a:p>
            <a:pPr marL="742950" lvl="1" indent="-285750" algn="just">
              <a:buFont typeface="Wingdings" panose="05000000000000000000" pitchFamily="2" charset="2"/>
              <a:buChar char="ü"/>
            </a:pPr>
            <a:r>
              <a:rPr lang="en-US" sz="1400" dirty="0"/>
              <a:t>As you progress down the hierarchy, you can give more permissions, but not fewer, e.g., if a user has </a:t>
            </a:r>
            <a:r>
              <a:rPr lang="en-US" sz="1400" i="1" dirty="0"/>
              <a:t>Read &amp; </a:t>
            </a:r>
            <a:r>
              <a:rPr lang="en-US" sz="1400" i="1" dirty="0" smtClean="0"/>
              <a:t>Analyze </a:t>
            </a:r>
            <a:r>
              <a:rPr lang="en-US" sz="1400" dirty="0" smtClean="0"/>
              <a:t>permission </a:t>
            </a:r>
            <a:r>
              <a:rPr lang="en-US" sz="1400" dirty="0"/>
              <a:t>at the account level, you can then also grant </a:t>
            </a:r>
            <a:r>
              <a:rPr lang="en-US" sz="1400" i="1" dirty="0"/>
              <a:t>Edit</a:t>
            </a:r>
            <a:r>
              <a:rPr lang="en-US" sz="1400" dirty="0"/>
              <a:t> permission at the property or view level; but if a user has </a:t>
            </a:r>
            <a:r>
              <a:rPr lang="en-US" sz="1400" i="1" dirty="0" smtClean="0"/>
              <a:t>Edit </a:t>
            </a:r>
            <a:r>
              <a:rPr lang="en-US" sz="1400" dirty="0" smtClean="0"/>
              <a:t>permission </a:t>
            </a:r>
            <a:r>
              <a:rPr lang="en-US" sz="1400" dirty="0"/>
              <a:t>at the account level, you can’t limit permission to just </a:t>
            </a:r>
            <a:r>
              <a:rPr lang="en-US" sz="1400" i="1" dirty="0"/>
              <a:t>Read &amp; Analyze</a:t>
            </a:r>
            <a:r>
              <a:rPr lang="en-US" sz="1400" dirty="0"/>
              <a:t> at the property level.</a:t>
            </a:r>
          </a:p>
          <a:p>
            <a:r>
              <a:rPr lang="fr-FR" sz="1400" dirty="0" smtClean="0"/>
              <a:t>.</a:t>
            </a:r>
            <a:endParaRPr lang="fr-FR" sz="1100" dirty="0" smtClean="0"/>
          </a:p>
        </p:txBody>
      </p:sp>
      <p:sp>
        <p:nvSpPr>
          <p:cNvPr id="9" name="Rectangle à coins arrondis 8"/>
          <p:cNvSpPr/>
          <p:nvPr/>
        </p:nvSpPr>
        <p:spPr bwMode="auto">
          <a:xfrm>
            <a:off x="2000590" y="332570"/>
            <a:ext cx="604884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dd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the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roject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team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ccording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to 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the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requested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ermissions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" y="1484730"/>
            <a:ext cx="8305800" cy="1733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4490892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272351" y="836640"/>
            <a:ext cx="9361299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1400" dirty="0" smtClean="0"/>
          </a:p>
          <a:p>
            <a:r>
              <a:rPr lang="fr-FR" sz="1400" dirty="0" smtClean="0"/>
              <a:t>                        </a:t>
            </a:r>
            <a:r>
              <a:rPr lang="fr-FR" sz="1400" b="1" dirty="0" smtClean="0"/>
              <a:t>ISM Project Manager</a:t>
            </a:r>
          </a:p>
          <a:p>
            <a:endParaRPr lang="fr-FR" sz="1400" dirty="0" smtClean="0"/>
          </a:p>
          <a:p>
            <a:pPr algn="just"/>
            <a:r>
              <a:rPr lang="fr-FR" sz="1400" dirty="0" smtClean="0"/>
              <a:t>The </a:t>
            </a:r>
            <a:r>
              <a:rPr lang="fr-FR" sz="1400" dirty="0"/>
              <a:t>ISM Project Manager </a:t>
            </a:r>
            <a:r>
              <a:rPr lang="fr-FR" sz="1400" dirty="0" err="1"/>
              <a:t>will</a:t>
            </a:r>
            <a:r>
              <a:rPr lang="fr-FR" sz="1400" dirty="0"/>
              <a:t>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affected</a:t>
            </a:r>
            <a:r>
              <a:rPr lang="fr-FR" sz="1400" dirty="0"/>
              <a:t> </a:t>
            </a:r>
            <a:r>
              <a:rPr lang="fr-FR" sz="1400" dirty="0" smtClean="0"/>
              <a:t>the «</a:t>
            </a:r>
            <a:r>
              <a:rPr lang="fr-FR" sz="1400" dirty="0"/>
              <a:t> Manage </a:t>
            </a:r>
            <a:r>
              <a:rPr lang="fr-FR" sz="1400" dirty="0" err="1"/>
              <a:t>users</a:t>
            </a:r>
            <a:r>
              <a:rPr lang="fr-FR" sz="1400" dirty="0"/>
              <a:t> » and « </a:t>
            </a:r>
            <a:r>
              <a:rPr lang="fr-FR" sz="1400" dirty="0" smtClean="0"/>
              <a:t>Edit</a:t>
            </a:r>
            <a:r>
              <a:rPr lang="fr-FR" sz="1400" dirty="0"/>
              <a:t> » permissions by default in all of the </a:t>
            </a:r>
            <a:r>
              <a:rPr lang="fr-FR" sz="1400" dirty="0" err="1"/>
              <a:t>project’s</a:t>
            </a:r>
            <a:r>
              <a:rPr lang="fr-FR" sz="1400" dirty="0"/>
              <a:t> </a:t>
            </a:r>
            <a:r>
              <a:rPr lang="fr-FR" sz="1400" dirty="0" err="1" smtClean="0"/>
              <a:t>properties</a:t>
            </a:r>
            <a:r>
              <a:rPr lang="fr-FR" sz="1400" dirty="0" smtClean="0"/>
              <a:t>. </a:t>
            </a:r>
            <a:r>
              <a:rPr lang="fr-FR" sz="1400" dirty="0" err="1" smtClean="0"/>
              <a:t>Therefore</a:t>
            </a:r>
            <a:r>
              <a:rPr lang="fr-FR" sz="1400" dirty="0" smtClean="0"/>
              <a:t>, the configuration must </a:t>
            </a:r>
            <a:r>
              <a:rPr lang="fr-FR" sz="1400" dirty="0" err="1" smtClean="0"/>
              <a:t>be</a:t>
            </a:r>
            <a:r>
              <a:rPr lang="fr-FR" sz="1400" dirty="0" smtClean="0"/>
              <a:t> </a:t>
            </a:r>
            <a:r>
              <a:rPr lang="fr-FR" sz="1400" dirty="0" err="1" smtClean="0"/>
              <a:t>done</a:t>
            </a:r>
            <a:r>
              <a:rPr lang="fr-FR" sz="1400" dirty="0" smtClean="0"/>
              <a:t> in the </a:t>
            </a:r>
            <a:r>
              <a:rPr lang="fr-FR" sz="1400" dirty="0" err="1" smtClean="0"/>
              <a:t>account</a:t>
            </a:r>
            <a:r>
              <a:rPr lang="fr-FR" sz="1400" dirty="0" smtClean="0"/>
              <a:t> (not the </a:t>
            </a:r>
            <a:r>
              <a:rPr lang="fr-FR" sz="1400" dirty="0" err="1" smtClean="0"/>
              <a:t>property</a:t>
            </a:r>
            <a:r>
              <a:rPr lang="fr-FR" sz="1400" dirty="0" smtClean="0"/>
              <a:t> </a:t>
            </a:r>
            <a:r>
              <a:rPr lang="fr-FR" sz="1400" dirty="0" err="1" smtClean="0"/>
              <a:t>nor</a:t>
            </a:r>
            <a:r>
              <a:rPr lang="fr-FR" sz="1400" dirty="0" smtClean="0"/>
              <a:t> the </a:t>
            </a:r>
            <a:r>
              <a:rPr lang="fr-FR" sz="1400" dirty="0" err="1" smtClean="0"/>
              <a:t>view</a:t>
            </a:r>
            <a:r>
              <a:rPr lang="fr-FR" sz="1400" dirty="0" smtClean="0"/>
              <a:t>) :</a:t>
            </a:r>
          </a:p>
          <a:p>
            <a:endParaRPr lang="fr-FR" sz="1100" dirty="0" smtClean="0"/>
          </a:p>
          <a:p>
            <a:r>
              <a:rPr lang="fr-FR" sz="1100" dirty="0" smtClean="0"/>
              <a:t>       The ISM Project Manager </a:t>
            </a:r>
            <a:r>
              <a:rPr lang="fr-FR" sz="1100" dirty="0" err="1" smtClean="0"/>
              <a:t>will</a:t>
            </a:r>
            <a:r>
              <a:rPr lang="fr-FR" sz="1100" dirty="0" smtClean="0"/>
              <a:t> </a:t>
            </a:r>
            <a:r>
              <a:rPr lang="fr-FR" sz="1100" dirty="0" err="1" smtClean="0"/>
              <a:t>automatically</a:t>
            </a:r>
            <a:r>
              <a:rPr lang="fr-FR" sz="1100" dirty="0" smtClean="0"/>
              <a:t> have the </a:t>
            </a:r>
            <a:r>
              <a:rPr lang="fr-FR" sz="1100" dirty="0" err="1" smtClean="0"/>
              <a:t>same</a:t>
            </a:r>
            <a:r>
              <a:rPr lang="fr-FR" sz="1100" dirty="0" smtClean="0"/>
              <a:t> permissions in all </a:t>
            </a:r>
            <a:r>
              <a:rPr lang="fr-FR" sz="1100" dirty="0" err="1" smtClean="0"/>
              <a:t>properties</a:t>
            </a:r>
            <a:r>
              <a:rPr lang="fr-FR" sz="1100" dirty="0" smtClean="0"/>
              <a:t>.</a:t>
            </a:r>
          </a:p>
          <a:p>
            <a:endParaRPr lang="fr-FR" sz="1400" dirty="0"/>
          </a:p>
        </p:txBody>
      </p:sp>
      <p:sp>
        <p:nvSpPr>
          <p:cNvPr id="9" name="Rectangle à coins arrondis 8"/>
          <p:cNvSpPr/>
          <p:nvPr/>
        </p:nvSpPr>
        <p:spPr bwMode="auto">
          <a:xfrm>
            <a:off x="2000590" y="332570"/>
            <a:ext cx="604884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dd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the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roject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team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ccording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to 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the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requested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ermissions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à coins arrondis 15"/>
          <p:cNvSpPr/>
          <p:nvPr/>
        </p:nvSpPr>
        <p:spPr bwMode="auto">
          <a:xfrm>
            <a:off x="272351" y="1097663"/>
            <a:ext cx="1152160" cy="216030"/>
          </a:xfrm>
          <a:prstGeom prst="roundRect">
            <a:avLst/>
          </a:prstGeom>
          <a:noFill/>
          <a:ln w="95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sz="1400" b="1" kern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itchFamily="34" charset="0"/>
                <a:ea typeface="+mj-ea"/>
                <a:cs typeface="+mj-cs"/>
              </a:rPr>
              <a:t>BY DEFAULT</a:t>
            </a:r>
            <a:endParaRPr lang="fr-FR" sz="1400" b="1" kern="0" dirty="0">
              <a:solidFill>
                <a:schemeClr val="tx1">
                  <a:lumMod val="90000"/>
                  <a:lumOff val="10000"/>
                </a:schemeClr>
              </a:solidFill>
              <a:latin typeface="Calibri" pitchFamily="34" charset="0"/>
              <a:ea typeface="+mj-ea"/>
              <a:cs typeface="+mj-cs"/>
            </a:endParaRP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20" y="2413511"/>
            <a:ext cx="7849090" cy="24362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6879" y="4246646"/>
            <a:ext cx="7122651" cy="21527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 bwMode="auto">
          <a:xfrm>
            <a:off x="1646879" y="4246646"/>
            <a:ext cx="7122651" cy="2152741"/>
          </a:xfrm>
          <a:prstGeom prst="wedgeRectCallout">
            <a:avLst>
              <a:gd name="adj1" fmla="val -27486"/>
              <a:gd name="adj2" fmla="val -6006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Flèche droite 3"/>
          <p:cNvSpPr/>
          <p:nvPr/>
        </p:nvSpPr>
        <p:spPr bwMode="auto">
          <a:xfrm>
            <a:off x="416370" y="2141637"/>
            <a:ext cx="144021" cy="144020"/>
          </a:xfrm>
          <a:prstGeom prst="right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8576752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272351" y="836640"/>
            <a:ext cx="9361299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1400" dirty="0" smtClean="0"/>
          </a:p>
          <a:p>
            <a:r>
              <a:rPr lang="fr-FR" sz="1400" dirty="0" smtClean="0"/>
              <a:t>                        </a:t>
            </a:r>
            <a:r>
              <a:rPr lang="fr-FR" sz="1400" b="1" dirty="0" smtClean="0"/>
              <a:t>Business Project Manager</a:t>
            </a:r>
          </a:p>
          <a:p>
            <a:endParaRPr lang="fr-FR" sz="800" dirty="0" smtClean="0"/>
          </a:p>
          <a:p>
            <a:pPr algn="just"/>
            <a:r>
              <a:rPr lang="fr-FR" sz="1400" dirty="0" smtClean="0"/>
              <a:t>The Business </a:t>
            </a:r>
            <a:r>
              <a:rPr lang="fr-FR" sz="1400" dirty="0"/>
              <a:t>Project Manager </a:t>
            </a:r>
            <a:r>
              <a:rPr lang="fr-FR" sz="1400" dirty="0" err="1"/>
              <a:t>will</a:t>
            </a:r>
            <a:r>
              <a:rPr lang="fr-FR" sz="1400" dirty="0"/>
              <a:t>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affected</a:t>
            </a:r>
            <a:r>
              <a:rPr lang="fr-FR" sz="1400" dirty="0"/>
              <a:t> </a:t>
            </a:r>
            <a:r>
              <a:rPr lang="fr-FR" sz="1400" dirty="0" smtClean="0"/>
              <a:t>the «</a:t>
            </a:r>
            <a:r>
              <a:rPr lang="fr-FR" sz="1400" dirty="0"/>
              <a:t> Manage </a:t>
            </a:r>
            <a:r>
              <a:rPr lang="fr-FR" sz="1400" dirty="0" err="1"/>
              <a:t>users</a:t>
            </a:r>
            <a:r>
              <a:rPr lang="fr-FR" sz="1400" dirty="0"/>
              <a:t> » and « </a:t>
            </a:r>
            <a:r>
              <a:rPr lang="fr-FR" sz="1400" dirty="0" smtClean="0"/>
              <a:t>Edit</a:t>
            </a:r>
            <a:r>
              <a:rPr lang="fr-FR" sz="1400" dirty="0"/>
              <a:t> » permissions by default </a:t>
            </a:r>
            <a:r>
              <a:rPr lang="fr-FR" sz="1400" u="sng" dirty="0"/>
              <a:t>in </a:t>
            </a:r>
            <a:r>
              <a:rPr lang="fr-FR" sz="1400" u="sng" dirty="0" smtClean="0"/>
              <a:t>the </a:t>
            </a:r>
            <a:r>
              <a:rPr lang="fr-FR" sz="1400" u="sng" dirty="0" err="1" smtClean="0"/>
              <a:t>view</a:t>
            </a:r>
            <a:r>
              <a:rPr lang="fr-FR" sz="1400" u="sng" dirty="0" smtClean="0"/>
              <a:t> of the URL (</a:t>
            </a:r>
            <a:r>
              <a:rPr lang="fr-FR" sz="1400" u="sng" dirty="0" err="1" smtClean="0"/>
              <a:t>environment</a:t>
            </a:r>
            <a:r>
              <a:rPr lang="fr-FR" sz="1400" u="sng" dirty="0" smtClean="0"/>
              <a:t>) of </a:t>
            </a:r>
            <a:r>
              <a:rPr lang="fr-FR" sz="1400" u="sng" dirty="0" err="1" smtClean="0"/>
              <a:t>which</a:t>
            </a:r>
            <a:r>
              <a:rPr lang="fr-FR" sz="1400" u="sng" dirty="0" smtClean="0"/>
              <a:t> </a:t>
            </a:r>
            <a:r>
              <a:rPr lang="fr-FR" sz="1400" u="sng" dirty="0" err="1" smtClean="0"/>
              <a:t>he</a:t>
            </a:r>
            <a:r>
              <a:rPr lang="fr-FR" sz="1400" u="sng" dirty="0" smtClean="0"/>
              <a:t> </a:t>
            </a:r>
            <a:r>
              <a:rPr lang="fr-FR" sz="1400" u="sng" dirty="0" err="1" smtClean="0"/>
              <a:t>requested</a:t>
            </a:r>
            <a:r>
              <a:rPr lang="fr-FR" sz="1400" u="sng" dirty="0" smtClean="0"/>
              <a:t> the </a:t>
            </a:r>
            <a:r>
              <a:rPr lang="fr-FR" sz="1400" u="sng" dirty="0" err="1" smtClean="0"/>
              <a:t>tracking</a:t>
            </a:r>
            <a:r>
              <a:rPr lang="fr-FR" sz="1400" dirty="0" smtClean="0"/>
              <a:t>.</a:t>
            </a:r>
          </a:p>
          <a:p>
            <a:endParaRPr lang="fr-FR" sz="1200" dirty="0"/>
          </a:p>
          <a:p>
            <a:r>
              <a:rPr lang="fr-FR" sz="1100" dirty="0" smtClean="0"/>
              <a:t>        The Business </a:t>
            </a:r>
            <a:r>
              <a:rPr lang="fr-FR" sz="1100" dirty="0"/>
              <a:t>Project </a:t>
            </a:r>
            <a:r>
              <a:rPr lang="fr-FR" sz="1100" dirty="0" smtClean="0"/>
              <a:t>Manager </a:t>
            </a:r>
            <a:r>
              <a:rPr lang="fr-FR" sz="1100" dirty="0" err="1" smtClean="0"/>
              <a:t>is</a:t>
            </a:r>
            <a:r>
              <a:rPr lang="fr-FR" sz="1100" dirty="0" smtClean="0"/>
              <a:t> not </a:t>
            </a:r>
            <a:r>
              <a:rPr lang="fr-FR" sz="1100" dirty="0" err="1" smtClean="0"/>
              <a:t>meant</a:t>
            </a:r>
            <a:r>
              <a:rPr lang="fr-FR" sz="1100" dirty="0" smtClean="0"/>
              <a:t> to have </a:t>
            </a:r>
            <a:r>
              <a:rPr lang="fr-FR" sz="1100" dirty="0" err="1"/>
              <a:t>a</a:t>
            </a:r>
            <a:r>
              <a:rPr lang="fr-FR" sz="1100" dirty="0" err="1" smtClean="0"/>
              <a:t>ccess</a:t>
            </a:r>
            <a:r>
              <a:rPr lang="fr-FR" sz="1100" dirty="0" smtClean="0"/>
              <a:t> to </a:t>
            </a:r>
            <a:r>
              <a:rPr lang="fr-FR" sz="1100" dirty="0" err="1" smtClean="0"/>
              <a:t>any</a:t>
            </a:r>
            <a:r>
              <a:rPr lang="fr-FR" sz="1100" dirty="0" smtClean="0"/>
              <a:t> </a:t>
            </a:r>
            <a:r>
              <a:rPr lang="fr-FR" sz="1100" dirty="0" err="1" smtClean="0"/>
              <a:t>property</a:t>
            </a:r>
            <a:r>
              <a:rPr lang="fr-FR" sz="1100" dirty="0" smtClean="0"/>
              <a:t> </a:t>
            </a:r>
            <a:r>
              <a:rPr lang="fr-FR" sz="1100" dirty="0" err="1" smtClean="0"/>
              <a:t>unless</a:t>
            </a:r>
            <a:r>
              <a:rPr lang="fr-FR" sz="1100" dirty="0" smtClean="0"/>
              <a:t> </a:t>
            </a:r>
            <a:r>
              <a:rPr lang="fr-FR" sz="1100" dirty="0" err="1" smtClean="0"/>
              <a:t>it</a:t>
            </a:r>
            <a:r>
              <a:rPr lang="fr-FR" sz="1100" dirty="0" smtClean="0"/>
              <a:t> </a:t>
            </a:r>
            <a:r>
              <a:rPr lang="fr-FR" sz="1100" dirty="0" err="1" smtClean="0"/>
              <a:t>is</a:t>
            </a:r>
            <a:r>
              <a:rPr lang="fr-FR" sz="1100" dirty="0" smtClean="0"/>
              <a:t> </a:t>
            </a:r>
            <a:r>
              <a:rPr lang="fr-FR" sz="1100" dirty="0" err="1" smtClean="0"/>
              <a:t>requested</a:t>
            </a:r>
            <a:r>
              <a:rPr lang="fr-FR" sz="1100" dirty="0" smtClean="0"/>
              <a:t> </a:t>
            </a:r>
            <a:r>
              <a:rPr lang="fr-FR" sz="1100" dirty="0" err="1" smtClean="0"/>
              <a:t>differently</a:t>
            </a:r>
            <a:r>
              <a:rPr lang="fr-FR" sz="1100" dirty="0" smtClean="0"/>
              <a:t>.</a:t>
            </a:r>
          </a:p>
        </p:txBody>
      </p:sp>
      <p:sp>
        <p:nvSpPr>
          <p:cNvPr id="9" name="Rectangle à coins arrondis 8"/>
          <p:cNvSpPr/>
          <p:nvPr/>
        </p:nvSpPr>
        <p:spPr bwMode="auto">
          <a:xfrm>
            <a:off x="2000590" y="332570"/>
            <a:ext cx="604884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dd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the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roject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team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ccording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to 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the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requested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ermissions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à coins arrondis 15"/>
          <p:cNvSpPr/>
          <p:nvPr/>
        </p:nvSpPr>
        <p:spPr bwMode="auto">
          <a:xfrm>
            <a:off x="272351" y="1097663"/>
            <a:ext cx="1152160" cy="216030"/>
          </a:xfrm>
          <a:prstGeom prst="roundRect">
            <a:avLst/>
          </a:prstGeom>
          <a:noFill/>
          <a:ln w="95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sz="1400" b="1" kern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itchFamily="34" charset="0"/>
                <a:ea typeface="+mj-ea"/>
                <a:cs typeface="+mj-cs"/>
              </a:rPr>
              <a:t>BY DEFAULT</a:t>
            </a:r>
            <a:endParaRPr lang="fr-FR" sz="1400" b="1" kern="0" dirty="0">
              <a:solidFill>
                <a:schemeClr val="tx1">
                  <a:lumMod val="90000"/>
                  <a:lumOff val="10000"/>
                </a:schemeClr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4" name="Flèche droite 13"/>
          <p:cNvSpPr/>
          <p:nvPr/>
        </p:nvSpPr>
        <p:spPr bwMode="auto">
          <a:xfrm>
            <a:off x="488377" y="2069555"/>
            <a:ext cx="144021" cy="144020"/>
          </a:xfrm>
          <a:prstGeom prst="right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466" y="2360497"/>
            <a:ext cx="7859444" cy="2436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 bwMode="auto">
          <a:xfrm>
            <a:off x="1646879" y="4246646"/>
            <a:ext cx="7122651" cy="2152741"/>
          </a:xfrm>
          <a:prstGeom prst="wedgeRectCallout">
            <a:avLst>
              <a:gd name="adj1" fmla="val 13565"/>
              <a:gd name="adj2" fmla="val -63517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355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185" y="4251961"/>
            <a:ext cx="7113345" cy="214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354516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272351" y="836640"/>
            <a:ext cx="9361299" cy="4447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/>
              <a:t>Configuration </a:t>
            </a:r>
            <a:r>
              <a:rPr lang="fr-FR" sz="1400" b="1" dirty="0" err="1" smtClean="0"/>
              <a:t>Request</a:t>
            </a:r>
            <a:endParaRPr lang="fr-FR" sz="1400" b="1" dirty="0" smtClean="0"/>
          </a:p>
          <a:p>
            <a:endParaRPr lang="fr-FR" sz="800" dirty="0" smtClean="0"/>
          </a:p>
          <a:p>
            <a:pPr algn="just"/>
            <a:r>
              <a:rPr lang="fr-FR" sz="1400" dirty="0" smtClean="0"/>
              <a:t>Once ,all the </a:t>
            </a:r>
            <a:r>
              <a:rPr lang="fr-FR" sz="1400" dirty="0" err="1" smtClean="0"/>
              <a:t>profiling</a:t>
            </a:r>
            <a:r>
              <a:rPr lang="fr-FR" sz="1400" dirty="0" smtClean="0"/>
              <a:t> and configuration has been </a:t>
            </a:r>
            <a:r>
              <a:rPr lang="fr-FR" sz="1400" dirty="0" err="1" smtClean="0"/>
              <a:t>done</a:t>
            </a:r>
            <a:r>
              <a:rPr lang="fr-FR" sz="1400" dirty="0" smtClean="0"/>
              <a:t> </a:t>
            </a:r>
            <a:r>
              <a:rPr lang="fr-FR" sz="1400" dirty="0" err="1" smtClean="0"/>
              <a:t>at</a:t>
            </a:r>
            <a:r>
              <a:rPr lang="fr-FR" sz="1400" dirty="0" smtClean="0"/>
              <a:t> the Google </a:t>
            </a:r>
            <a:r>
              <a:rPr lang="fr-FR" sz="1400" dirty="0" err="1" smtClean="0"/>
              <a:t>Analytics</a:t>
            </a:r>
            <a:r>
              <a:rPr lang="fr-FR" sz="1400" dirty="0" smtClean="0"/>
              <a:t> </a:t>
            </a:r>
            <a:r>
              <a:rPr lang="fr-FR" sz="1400" dirty="0" err="1" smtClean="0"/>
              <a:t>admin</a:t>
            </a:r>
            <a:r>
              <a:rPr lang="fr-FR" sz="1400" dirty="0" smtClean="0"/>
              <a:t> , ISM-Java team </a:t>
            </a:r>
            <a:r>
              <a:rPr lang="fr-FR" sz="1400" dirty="0" err="1" smtClean="0"/>
              <a:t>would</a:t>
            </a:r>
            <a:r>
              <a:rPr lang="fr-FR" sz="1400" dirty="0" smtClean="0"/>
              <a:t> </a:t>
            </a:r>
            <a:r>
              <a:rPr lang="fr-FR" sz="1400" dirty="0" err="1" smtClean="0"/>
              <a:t>be</a:t>
            </a:r>
            <a:r>
              <a:rPr lang="fr-FR" sz="1400" dirty="0" smtClean="0"/>
              <a:t> </a:t>
            </a:r>
            <a:r>
              <a:rPr lang="fr-FR" sz="1400" dirty="0" err="1" smtClean="0"/>
              <a:t>requested</a:t>
            </a:r>
            <a:r>
              <a:rPr lang="fr-FR" sz="1400" dirty="0" smtClean="0"/>
              <a:t> to configure the </a:t>
            </a:r>
            <a:r>
              <a:rPr lang="fr-FR" sz="1400" dirty="0" err="1" smtClean="0"/>
              <a:t>google</a:t>
            </a:r>
            <a:r>
              <a:rPr lang="fr-FR" sz="1400" dirty="0" smtClean="0"/>
              <a:t> </a:t>
            </a:r>
            <a:r>
              <a:rPr lang="fr-FR" sz="1400" dirty="0" err="1" smtClean="0"/>
              <a:t>analytics</a:t>
            </a:r>
            <a:r>
              <a:rPr lang="fr-FR" sz="1400" dirty="0" smtClean="0"/>
              <a:t> in the </a:t>
            </a:r>
            <a:r>
              <a:rPr lang="fr-FR" sz="1400" dirty="0" err="1" smtClean="0"/>
              <a:t>related</a:t>
            </a:r>
            <a:r>
              <a:rPr lang="fr-FR" sz="1400" dirty="0" smtClean="0"/>
              <a:t> </a:t>
            </a:r>
            <a:r>
              <a:rPr lang="fr-FR" sz="1400" dirty="0" err="1" smtClean="0"/>
              <a:t>project</a:t>
            </a:r>
            <a:r>
              <a:rPr lang="fr-FR" sz="1400" dirty="0" smtClean="0"/>
              <a:t> .</a:t>
            </a:r>
          </a:p>
          <a:p>
            <a:pPr algn="just"/>
            <a:endParaRPr lang="fr-FR" sz="1400" dirty="0"/>
          </a:p>
          <a:p>
            <a:pPr algn="just"/>
            <a:r>
              <a:rPr lang="fr-FR" sz="1400" dirty="0" err="1" smtClean="0"/>
              <a:t>Request</a:t>
            </a:r>
            <a:r>
              <a:rPr lang="fr-FR" sz="1400" dirty="0" smtClean="0"/>
              <a:t> </a:t>
            </a:r>
            <a:r>
              <a:rPr lang="fr-FR" sz="1400" dirty="0" err="1" smtClean="0"/>
              <a:t>will</a:t>
            </a:r>
            <a:r>
              <a:rPr lang="fr-FR" sz="1400" dirty="0" smtClean="0"/>
              <a:t> have </a:t>
            </a:r>
            <a:r>
              <a:rPr lang="fr-FR" sz="1400" dirty="0" err="1" smtClean="0"/>
              <a:t>following</a:t>
            </a:r>
            <a:r>
              <a:rPr lang="fr-FR" sz="1400" dirty="0" smtClean="0"/>
              <a:t> </a:t>
            </a:r>
            <a:r>
              <a:rPr lang="fr-FR" sz="1400" dirty="0" err="1" smtClean="0"/>
              <a:t>details</a:t>
            </a:r>
            <a:r>
              <a:rPr lang="fr-FR" sz="1400" dirty="0" smtClean="0"/>
              <a:t> :</a:t>
            </a:r>
          </a:p>
          <a:p>
            <a:pPr algn="just"/>
            <a:endParaRPr lang="fr-FR" sz="1400" dirty="0" smtClean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 smtClean="0"/>
              <a:t>Google </a:t>
            </a:r>
            <a:r>
              <a:rPr lang="fr-FR" sz="1400" dirty="0" err="1" smtClean="0"/>
              <a:t>tracking</a:t>
            </a:r>
            <a:r>
              <a:rPr lang="fr-FR" sz="1400" dirty="0" smtClean="0"/>
              <a:t> ID for </a:t>
            </a:r>
            <a:r>
              <a:rPr lang="fr-FR" sz="1400" dirty="0" err="1" smtClean="0"/>
              <a:t>each</a:t>
            </a:r>
            <a:r>
              <a:rPr lang="fr-FR" sz="1400" dirty="0" smtClean="0"/>
              <a:t> </a:t>
            </a:r>
            <a:r>
              <a:rPr lang="fr-FR" sz="1400" dirty="0" err="1" smtClean="0"/>
              <a:t>environment</a:t>
            </a:r>
            <a:r>
              <a:rPr lang="fr-FR" sz="1400" dirty="0" smtClean="0"/>
              <a:t> ( </a:t>
            </a:r>
            <a:r>
              <a:rPr lang="fr-FR" sz="1400" dirty="0" err="1" smtClean="0"/>
              <a:t>generated</a:t>
            </a:r>
            <a:r>
              <a:rPr lang="fr-FR" sz="1400" dirty="0" smtClean="0"/>
              <a:t> by </a:t>
            </a:r>
            <a:r>
              <a:rPr lang="fr-FR" sz="1400" dirty="0" err="1" smtClean="0"/>
              <a:t>admin</a:t>
            </a:r>
            <a:r>
              <a:rPr lang="fr-FR" sz="1400" dirty="0" smtClean="0"/>
              <a:t> ) </a:t>
            </a:r>
            <a:r>
              <a:rPr lang="fr-FR" sz="1400" dirty="0" err="1" smtClean="0"/>
              <a:t>that</a:t>
            </a:r>
            <a:r>
              <a:rPr lang="fr-FR" sz="1400" dirty="0" smtClean="0"/>
              <a:t> looks </a:t>
            </a:r>
            <a:r>
              <a:rPr lang="fr-FR" sz="1400" dirty="0" err="1" smtClean="0"/>
              <a:t>like</a:t>
            </a:r>
            <a:r>
              <a:rPr lang="fr-FR" sz="1400" dirty="0" smtClean="0"/>
              <a:t> :</a:t>
            </a:r>
            <a:r>
              <a:rPr lang="en-IN" sz="1400" dirty="0" smtClean="0"/>
              <a:t>'UA-</a:t>
            </a:r>
            <a:r>
              <a:rPr lang="en-IN" sz="1400" dirty="0" err="1" smtClean="0"/>
              <a:t>xxxxxxxx</a:t>
            </a:r>
            <a:r>
              <a:rPr lang="en-IN" sz="1400" dirty="0" smtClean="0"/>
              <a:t>-x‘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 smtClean="0"/>
              <a:t>User ID to be used in call to Google Analytics API ( in general it is </a:t>
            </a:r>
            <a:r>
              <a:rPr lang="en-US" sz="1400" dirty="0" err="1" smtClean="0"/>
              <a:t>ldap</a:t>
            </a:r>
            <a:r>
              <a:rPr lang="en-US" sz="1400" dirty="0" smtClean="0"/>
              <a:t> user id / user Id in DB for the logged in user in application )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 smtClean="0"/>
              <a:t>Pages / Events on which this call has to be made . ( Generally it is , whenever any page opens / updates )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 smtClean="0"/>
              <a:t>Properties to be shared in call to </a:t>
            </a:r>
            <a:r>
              <a:rPr lang="en-US" sz="1400" dirty="0" err="1" smtClean="0"/>
              <a:t>google</a:t>
            </a:r>
            <a:r>
              <a:rPr lang="en-US" sz="1400" dirty="0" smtClean="0"/>
              <a:t> analytics .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US" sz="1400" dirty="0" smtClean="0"/>
              <a:t>Basically to differentiate the different calls on same page based on profile of user and other important project related attributes .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endParaRPr lang="en-US" sz="1400" dirty="0"/>
          </a:p>
          <a:p>
            <a:pPr algn="just"/>
            <a:r>
              <a:rPr lang="en-US" sz="1400" dirty="0" smtClean="0"/>
              <a:t>Example of one such request ( mantis id : #</a:t>
            </a:r>
            <a:r>
              <a:rPr lang="en-IN" sz="1400" dirty="0" smtClean="0"/>
              <a:t>0190879 ) .</a:t>
            </a:r>
          </a:p>
          <a:p>
            <a:pPr algn="just"/>
            <a:endParaRPr lang="en-US" sz="1400" dirty="0"/>
          </a:p>
          <a:p>
            <a:pPr algn="just"/>
            <a:endParaRPr lang="fr-FR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endParaRPr lang="fr-FR" sz="1200" dirty="0"/>
          </a:p>
          <a:p>
            <a:r>
              <a:rPr lang="fr-FR" sz="1100" dirty="0" smtClean="0"/>
              <a:t>        </a:t>
            </a:r>
          </a:p>
        </p:txBody>
      </p:sp>
      <p:sp>
        <p:nvSpPr>
          <p:cNvPr id="9" name="Rectangle à coins arrondis 8"/>
          <p:cNvSpPr/>
          <p:nvPr/>
        </p:nvSpPr>
        <p:spPr bwMode="auto">
          <a:xfrm>
            <a:off x="2000590" y="332570"/>
            <a:ext cx="604884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Configuring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Google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in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roject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Arrow 1"/>
          <p:cNvSpPr/>
          <p:nvPr/>
        </p:nvSpPr>
        <p:spPr bwMode="auto">
          <a:xfrm>
            <a:off x="560390" y="2348850"/>
            <a:ext cx="360050" cy="45719"/>
          </a:xfrm>
          <a:prstGeom prst="right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IN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4488673"/>
            <a:ext cx="9563100" cy="159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4348283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272351" y="836640"/>
            <a:ext cx="9361299" cy="5309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err="1" smtClean="0"/>
              <a:t>Configuring</a:t>
            </a:r>
            <a:r>
              <a:rPr lang="fr-FR" sz="1400" b="1" dirty="0" smtClean="0"/>
              <a:t> application </a:t>
            </a:r>
          </a:p>
          <a:p>
            <a:endParaRPr lang="fr-FR" sz="800" dirty="0" smtClean="0"/>
          </a:p>
          <a:p>
            <a:pPr algn="just"/>
            <a:r>
              <a:rPr lang="fr-FR" sz="1400" dirty="0" smtClean="0"/>
              <a:t>For </a:t>
            </a:r>
            <a:r>
              <a:rPr lang="fr-FR" sz="1400" dirty="0" err="1" smtClean="0"/>
              <a:t>google</a:t>
            </a:r>
            <a:r>
              <a:rPr lang="fr-FR" sz="1400" dirty="0" smtClean="0"/>
              <a:t> </a:t>
            </a:r>
            <a:r>
              <a:rPr lang="fr-FR" sz="1400" dirty="0" err="1" smtClean="0"/>
              <a:t>analytics</a:t>
            </a:r>
            <a:r>
              <a:rPr lang="fr-FR" sz="1400" dirty="0" smtClean="0"/>
              <a:t> for </a:t>
            </a:r>
            <a:r>
              <a:rPr lang="fr-FR" sz="1400" dirty="0" err="1" smtClean="0"/>
              <a:t>any</a:t>
            </a:r>
            <a:r>
              <a:rPr lang="fr-FR" sz="1400" dirty="0" smtClean="0"/>
              <a:t>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 </a:t>
            </a:r>
            <a:r>
              <a:rPr lang="fr-FR" sz="1400" dirty="0" err="1" smtClean="0"/>
              <a:t>generated</a:t>
            </a:r>
            <a:r>
              <a:rPr lang="fr-FR" sz="1400" dirty="0" smtClean="0"/>
              <a:t> </a:t>
            </a:r>
            <a:r>
              <a:rPr lang="fr-FR" sz="1400" dirty="0" err="1" smtClean="0"/>
              <a:t>from</a:t>
            </a:r>
            <a:r>
              <a:rPr lang="fr-FR" sz="1400" dirty="0" smtClean="0"/>
              <a:t> page ,a </a:t>
            </a:r>
            <a:r>
              <a:rPr lang="fr-FR" sz="1400" dirty="0" err="1" smtClean="0"/>
              <a:t>developer</a:t>
            </a:r>
            <a:r>
              <a:rPr lang="fr-FR" sz="1400" dirty="0" smtClean="0"/>
              <a:t> </a:t>
            </a:r>
            <a:r>
              <a:rPr lang="fr-FR" sz="1400" dirty="0" err="1" smtClean="0"/>
              <a:t>will</a:t>
            </a:r>
            <a:r>
              <a:rPr lang="fr-FR" sz="1400" dirty="0" smtClean="0"/>
              <a:t> </a:t>
            </a:r>
            <a:r>
              <a:rPr lang="fr-FR" sz="1400" dirty="0" err="1" smtClean="0"/>
              <a:t>include</a:t>
            </a:r>
            <a:r>
              <a:rPr lang="fr-FR" sz="1400" dirty="0" smtClean="0"/>
              <a:t> </a:t>
            </a:r>
            <a:r>
              <a:rPr lang="fr-FR" sz="1400" dirty="0" err="1" smtClean="0"/>
              <a:t>following</a:t>
            </a:r>
            <a:r>
              <a:rPr lang="fr-FR" sz="1400" dirty="0" smtClean="0"/>
              <a:t> :</a:t>
            </a:r>
          </a:p>
          <a:p>
            <a:pPr algn="just"/>
            <a:endParaRPr lang="fr-FR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 smtClean="0"/>
              <a:t>Script (analytics.js ) </a:t>
            </a:r>
            <a:r>
              <a:rPr lang="fr-FR" sz="1400" dirty="0" err="1" smtClean="0"/>
              <a:t>from</a:t>
            </a:r>
            <a:r>
              <a:rPr lang="fr-FR" sz="1400" dirty="0" smtClean="0"/>
              <a:t> </a:t>
            </a:r>
            <a:r>
              <a:rPr lang="fr-FR" sz="1400" dirty="0" err="1" smtClean="0"/>
              <a:t>google</a:t>
            </a:r>
            <a:r>
              <a:rPr lang="fr-FR" sz="1400" dirty="0" smtClean="0"/>
              <a:t> </a:t>
            </a:r>
            <a:r>
              <a:rPr lang="fr-FR" sz="1400" dirty="0" err="1" smtClean="0"/>
              <a:t>analytics</a:t>
            </a:r>
            <a:r>
              <a:rPr lang="fr-FR" sz="1400" dirty="0" smtClean="0"/>
              <a:t> </a:t>
            </a:r>
            <a:r>
              <a:rPr lang="fr-FR" sz="1400" dirty="0" err="1" smtClean="0"/>
              <a:t>shall</a:t>
            </a:r>
            <a:r>
              <a:rPr lang="fr-FR" sz="1400" dirty="0" smtClean="0"/>
              <a:t> </a:t>
            </a:r>
            <a:r>
              <a:rPr lang="fr-FR" sz="1400" dirty="0" err="1" smtClean="0"/>
              <a:t>be</a:t>
            </a:r>
            <a:r>
              <a:rPr lang="fr-FR" sz="1400" dirty="0" smtClean="0"/>
              <a:t> </a:t>
            </a:r>
            <a:r>
              <a:rPr lang="fr-FR" sz="1400" dirty="0" err="1" smtClean="0"/>
              <a:t>loaded</a:t>
            </a:r>
            <a:r>
              <a:rPr lang="fr-FR" sz="1400" dirty="0" smtClean="0"/>
              <a:t> </a:t>
            </a:r>
            <a:r>
              <a:rPr lang="fr-FR" sz="1400" dirty="0" err="1" smtClean="0"/>
              <a:t>at</a:t>
            </a:r>
            <a:r>
              <a:rPr lang="fr-FR" sz="1400" dirty="0" smtClean="0"/>
              <a:t> client </a:t>
            </a:r>
            <a:r>
              <a:rPr lang="fr-FR" sz="1400" dirty="0" err="1" smtClean="0"/>
              <a:t>side</a:t>
            </a:r>
            <a:r>
              <a:rPr lang="fr-FR" sz="1400" dirty="0" smtClean="0"/>
              <a:t> . </a:t>
            </a:r>
            <a:endParaRPr lang="fr-FR" sz="1400" dirty="0"/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 smtClean="0"/>
              <a:t>This </a:t>
            </a:r>
            <a:r>
              <a:rPr lang="fr-FR" sz="1400" dirty="0" err="1" smtClean="0"/>
              <a:t>is</a:t>
            </a:r>
            <a:r>
              <a:rPr lang="fr-FR" sz="1400" dirty="0" smtClean="0"/>
              <a:t> the script </a:t>
            </a:r>
            <a:r>
              <a:rPr lang="fr-FR" sz="1400" dirty="0" err="1" smtClean="0"/>
              <a:t>generated</a:t>
            </a:r>
            <a:r>
              <a:rPr lang="fr-FR" sz="1400" dirty="0" smtClean="0"/>
              <a:t> by Google </a:t>
            </a:r>
            <a:r>
              <a:rPr lang="fr-FR" sz="1400" dirty="0" err="1" smtClean="0"/>
              <a:t>Analytics</a:t>
            </a:r>
            <a:r>
              <a:rPr lang="fr-FR" sz="1400" dirty="0" smtClean="0"/>
              <a:t> </a:t>
            </a:r>
            <a:r>
              <a:rPr lang="fr-FR" sz="1400" dirty="0" err="1" smtClean="0"/>
              <a:t>Admin</a:t>
            </a:r>
            <a:r>
              <a:rPr lang="fr-FR" sz="1400" dirty="0" smtClean="0"/>
              <a:t> </a:t>
            </a:r>
            <a:r>
              <a:rPr lang="fr-FR" sz="1400" dirty="0" err="1" smtClean="0"/>
              <a:t>when</a:t>
            </a:r>
            <a:r>
              <a:rPr lang="fr-FR" sz="1400" dirty="0" smtClean="0"/>
              <a:t> </a:t>
            </a:r>
            <a:r>
              <a:rPr lang="fr-FR" sz="1400" dirty="0" err="1" smtClean="0"/>
              <a:t>Tracking</a:t>
            </a:r>
            <a:r>
              <a:rPr lang="fr-FR" sz="1400" dirty="0" smtClean="0"/>
              <a:t> Id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being</a:t>
            </a:r>
            <a:r>
              <a:rPr lang="fr-FR" sz="1400" dirty="0" smtClean="0"/>
              <a:t> </a:t>
            </a:r>
            <a:r>
              <a:rPr lang="fr-FR" sz="1400" dirty="0" err="1" smtClean="0"/>
              <a:t>generated</a:t>
            </a:r>
            <a:r>
              <a:rPr lang="fr-FR" sz="1400" dirty="0" smtClean="0"/>
              <a:t> 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 err="1" smtClean="0"/>
              <a:t>Tracking</a:t>
            </a:r>
            <a:r>
              <a:rPr lang="fr-FR" sz="1400" dirty="0" smtClean="0"/>
              <a:t> ID configuration ( ISM-JAVA team </a:t>
            </a:r>
            <a:r>
              <a:rPr lang="fr-FR" sz="1400" dirty="0" err="1" smtClean="0"/>
              <a:t>confugure</a:t>
            </a:r>
            <a:r>
              <a:rPr lang="fr-FR" sz="1400" dirty="0" smtClean="0"/>
              <a:t> </a:t>
            </a:r>
            <a:r>
              <a:rPr lang="fr-FR" sz="1400" dirty="0" err="1" smtClean="0"/>
              <a:t>it</a:t>
            </a:r>
            <a:r>
              <a:rPr lang="fr-FR" sz="1400" dirty="0" smtClean="0"/>
              <a:t> </a:t>
            </a:r>
            <a:r>
              <a:rPr lang="fr-FR" sz="1400" dirty="0" err="1" smtClean="0"/>
              <a:t>only</a:t>
            </a:r>
            <a:r>
              <a:rPr lang="fr-FR" sz="1400" dirty="0" smtClean="0"/>
              <a:t> </a:t>
            </a:r>
            <a:r>
              <a:rPr lang="fr-FR" sz="1400" dirty="0" err="1" smtClean="0"/>
              <a:t>from</a:t>
            </a:r>
            <a:r>
              <a:rPr lang="fr-FR" sz="1400" dirty="0" smtClean="0"/>
              <a:t> INT </a:t>
            </a:r>
            <a:r>
              <a:rPr lang="fr-FR" sz="1400" dirty="0" err="1" smtClean="0"/>
              <a:t>environment</a:t>
            </a:r>
            <a:r>
              <a:rPr lang="fr-FR" sz="1400" dirty="0" smtClean="0"/>
              <a:t> ,</a:t>
            </a:r>
            <a:r>
              <a:rPr lang="fr-FR" sz="1400" dirty="0" err="1" smtClean="0"/>
              <a:t>keeping</a:t>
            </a:r>
            <a:r>
              <a:rPr lang="fr-FR" sz="1400" dirty="0" smtClean="0"/>
              <a:t> </a:t>
            </a:r>
            <a:r>
              <a:rPr lang="fr-FR" sz="1400" dirty="0" err="1" smtClean="0"/>
              <a:t>this</a:t>
            </a:r>
            <a:r>
              <a:rPr lang="fr-FR" sz="1400" dirty="0" smtClean="0"/>
              <a:t> ID in configuration file , </a:t>
            </a:r>
            <a:r>
              <a:rPr lang="fr-FR" sz="1400" dirty="0" err="1" smtClean="0"/>
              <a:t>infroming</a:t>
            </a:r>
            <a:r>
              <a:rPr lang="fr-FR" sz="1400" dirty="0" smtClean="0"/>
              <a:t> </a:t>
            </a:r>
            <a:r>
              <a:rPr lang="fr-FR" sz="1400" dirty="0" err="1" smtClean="0"/>
              <a:t>project</a:t>
            </a:r>
            <a:r>
              <a:rPr lang="fr-FR" sz="1400" dirty="0" smtClean="0"/>
              <a:t> manager about </a:t>
            </a:r>
            <a:r>
              <a:rPr lang="fr-FR" sz="1400" dirty="0" err="1" smtClean="0"/>
              <a:t>same</a:t>
            </a:r>
            <a:r>
              <a:rPr lang="fr-FR" sz="1400" dirty="0" smtClean="0"/>
              <a:t> to update the configuration file for </a:t>
            </a:r>
            <a:r>
              <a:rPr lang="fr-FR" sz="1400" dirty="0" err="1" smtClean="0"/>
              <a:t>different</a:t>
            </a:r>
            <a:r>
              <a:rPr lang="fr-FR" sz="1400" dirty="0" smtClean="0"/>
              <a:t> </a:t>
            </a:r>
            <a:r>
              <a:rPr lang="fr-FR" sz="1400" dirty="0" err="1" smtClean="0"/>
              <a:t>environments</a:t>
            </a:r>
            <a:r>
              <a:rPr lang="fr-FR" sz="1400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 smtClean="0"/>
              <a:t>User ID configuration ( </a:t>
            </a:r>
            <a:r>
              <a:rPr lang="fr-FR" sz="1400" dirty="0" err="1" smtClean="0"/>
              <a:t>generally</a:t>
            </a:r>
            <a:r>
              <a:rPr lang="fr-FR" sz="1400" dirty="0" smtClean="0"/>
              <a:t> </a:t>
            </a:r>
            <a:r>
              <a:rPr lang="fr-FR" sz="1400" dirty="0" err="1" smtClean="0"/>
              <a:t>it</a:t>
            </a:r>
            <a:r>
              <a:rPr lang="fr-FR" sz="1400" dirty="0" smtClean="0"/>
              <a:t>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ldap</a:t>
            </a:r>
            <a:r>
              <a:rPr lang="fr-FR" sz="1400" dirty="0" smtClean="0"/>
              <a:t> / </a:t>
            </a:r>
            <a:r>
              <a:rPr lang="fr-FR" sz="1400" dirty="0" err="1" smtClean="0"/>
              <a:t>internal</a:t>
            </a:r>
            <a:r>
              <a:rPr lang="fr-FR" sz="1400" dirty="0" smtClean="0"/>
              <a:t> </a:t>
            </a:r>
            <a:r>
              <a:rPr lang="fr-FR" sz="1400" dirty="0" err="1" smtClean="0"/>
              <a:t>UserDB</a:t>
            </a:r>
            <a:r>
              <a:rPr lang="fr-FR" sz="1400" dirty="0" smtClean="0"/>
              <a:t> ID of the </a:t>
            </a:r>
            <a:r>
              <a:rPr lang="fr-FR" sz="1400" dirty="0" err="1" smtClean="0"/>
              <a:t>logged</a:t>
            </a:r>
            <a:r>
              <a:rPr lang="fr-FR" sz="1400" dirty="0" smtClean="0"/>
              <a:t> in user to </a:t>
            </a:r>
            <a:r>
              <a:rPr lang="fr-FR" sz="1400" dirty="0" err="1" smtClean="0"/>
              <a:t>keep</a:t>
            </a:r>
            <a:r>
              <a:rPr lang="fr-FR" sz="1400" dirty="0" smtClean="0"/>
              <a:t> </a:t>
            </a:r>
            <a:r>
              <a:rPr lang="fr-FR" sz="1400" dirty="0" err="1" smtClean="0"/>
              <a:t>track</a:t>
            </a:r>
            <a:r>
              <a:rPr lang="fr-FR" sz="1400" dirty="0" smtClean="0"/>
              <a:t> of </a:t>
            </a:r>
            <a:r>
              <a:rPr lang="fr-FR" sz="1400" dirty="0" err="1" smtClean="0"/>
              <a:t>who</a:t>
            </a:r>
            <a:r>
              <a:rPr lang="fr-FR" sz="1400" dirty="0" smtClean="0"/>
              <a:t>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performing</a:t>
            </a:r>
            <a:r>
              <a:rPr lang="fr-FR" sz="1400" dirty="0" smtClean="0"/>
              <a:t> action on the page 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 err="1" smtClean="0"/>
              <a:t>Properties</a:t>
            </a:r>
            <a:r>
              <a:rPr lang="fr-FR" sz="1400" dirty="0" smtClean="0"/>
              <a:t> to </a:t>
            </a:r>
            <a:r>
              <a:rPr lang="fr-FR" sz="1400" dirty="0" err="1" smtClean="0"/>
              <a:t>segregate</a:t>
            </a:r>
            <a:r>
              <a:rPr lang="fr-FR" sz="1400" dirty="0" smtClean="0"/>
              <a:t> the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 </a:t>
            </a:r>
            <a:r>
              <a:rPr lang="fr-FR" sz="1400" dirty="0" err="1" smtClean="0"/>
              <a:t>from</a:t>
            </a:r>
            <a:r>
              <a:rPr lang="fr-FR" sz="1400" dirty="0" smtClean="0"/>
              <a:t> </a:t>
            </a:r>
            <a:r>
              <a:rPr lang="fr-FR" sz="1400" dirty="0" err="1" smtClean="0"/>
              <a:t>different</a:t>
            </a:r>
            <a:r>
              <a:rPr lang="fr-FR" sz="1400" dirty="0"/>
              <a:t> </a:t>
            </a:r>
            <a:r>
              <a:rPr lang="fr-FR" sz="1400" dirty="0" smtClean="0"/>
              <a:t>profile or in </a:t>
            </a:r>
            <a:r>
              <a:rPr lang="fr-FR" sz="1400" dirty="0" err="1" smtClean="0"/>
              <a:t>general</a:t>
            </a:r>
            <a:r>
              <a:rPr lang="fr-FR" sz="1400" dirty="0" smtClean="0"/>
              <a:t> </a:t>
            </a:r>
            <a:r>
              <a:rPr lang="fr-FR" sz="1400" dirty="0" err="1" smtClean="0"/>
              <a:t>term</a:t>
            </a:r>
            <a:r>
              <a:rPr lang="fr-FR" sz="1400" dirty="0" smtClean="0"/>
              <a:t> </a:t>
            </a:r>
            <a:r>
              <a:rPr lang="fr-FR" sz="1400" dirty="0" err="1" smtClean="0"/>
              <a:t>we</a:t>
            </a:r>
            <a:r>
              <a:rPr lang="fr-FR" sz="1400" dirty="0" smtClean="0"/>
              <a:t> cal </a:t>
            </a:r>
            <a:r>
              <a:rPr lang="fr-FR" sz="1400" dirty="0" err="1" smtClean="0"/>
              <a:t>say</a:t>
            </a:r>
            <a:r>
              <a:rPr lang="fr-FR" sz="1400" dirty="0" smtClean="0"/>
              <a:t> </a:t>
            </a:r>
            <a:r>
              <a:rPr lang="fr-FR" sz="1400" dirty="0" err="1" smtClean="0"/>
              <a:t>imparting</a:t>
            </a:r>
            <a:r>
              <a:rPr lang="fr-FR" sz="1400" dirty="0" smtClean="0"/>
              <a:t> intelligence to </a:t>
            </a:r>
            <a:r>
              <a:rPr lang="fr-FR" sz="1400" dirty="0" err="1" smtClean="0"/>
              <a:t>judge</a:t>
            </a:r>
            <a:r>
              <a:rPr lang="fr-FR" sz="1400" dirty="0" smtClean="0"/>
              <a:t> the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 to </a:t>
            </a:r>
            <a:r>
              <a:rPr lang="fr-FR" sz="1400" dirty="0" err="1" smtClean="0"/>
              <a:t>perform</a:t>
            </a:r>
            <a:r>
              <a:rPr lang="fr-FR" sz="1400" dirty="0" smtClean="0"/>
              <a:t> </a:t>
            </a:r>
            <a:r>
              <a:rPr lang="fr-FR" sz="1400" dirty="0" err="1" smtClean="0"/>
              <a:t>analysis</a:t>
            </a:r>
            <a:r>
              <a:rPr lang="fr-FR" sz="1400" dirty="0" smtClean="0"/>
              <a:t> on </a:t>
            </a:r>
            <a:r>
              <a:rPr lang="fr-FR" sz="1400" dirty="0" err="1" smtClean="0"/>
              <a:t>it</a:t>
            </a:r>
            <a:r>
              <a:rPr lang="fr-FR" sz="1400" dirty="0" smtClean="0"/>
              <a:t> 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 smtClean="0"/>
              <a:t>Page </a:t>
            </a:r>
            <a:r>
              <a:rPr lang="fr-FR" sz="1400" dirty="0" err="1" smtClean="0"/>
              <a:t>path</a:t>
            </a:r>
            <a:r>
              <a:rPr lang="fr-FR" sz="1400" dirty="0" smtClean="0"/>
              <a:t> </a:t>
            </a:r>
            <a:r>
              <a:rPr lang="fr-FR" sz="1400" dirty="0" err="1" smtClean="0"/>
              <a:t>from</a:t>
            </a:r>
            <a:r>
              <a:rPr lang="fr-FR" sz="1400" dirty="0" smtClean="0"/>
              <a:t> </a:t>
            </a:r>
            <a:r>
              <a:rPr lang="fr-FR" sz="1400" dirty="0" err="1" smtClean="0"/>
              <a:t>where</a:t>
            </a:r>
            <a:r>
              <a:rPr lang="fr-FR" sz="1400" dirty="0" smtClean="0"/>
              <a:t>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being</a:t>
            </a:r>
            <a:r>
              <a:rPr lang="fr-FR" sz="1400" dirty="0" smtClean="0"/>
              <a:t> </a:t>
            </a:r>
            <a:r>
              <a:rPr lang="fr-FR" sz="1400" dirty="0" err="1" smtClean="0"/>
              <a:t>generated</a:t>
            </a:r>
            <a:r>
              <a:rPr lang="fr-FR" sz="1400" dirty="0" smtClean="0"/>
              <a:t> 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 smtClean="0"/>
              <a:t>All the </a:t>
            </a:r>
            <a:r>
              <a:rPr lang="fr-FR" sz="1400" dirty="0" err="1" smtClean="0"/>
              <a:t>properties</a:t>
            </a:r>
            <a:r>
              <a:rPr lang="fr-FR" sz="1400" dirty="0" smtClean="0"/>
              <a:t> </a:t>
            </a:r>
            <a:r>
              <a:rPr lang="fr-FR" sz="1400" dirty="0" err="1" smtClean="0"/>
              <a:t>defines</a:t>
            </a:r>
            <a:r>
              <a:rPr lang="fr-FR" sz="1400" dirty="0" smtClean="0"/>
              <a:t> ,</a:t>
            </a:r>
            <a:r>
              <a:rPr lang="fr-FR" sz="1400" dirty="0" err="1" smtClean="0"/>
              <a:t>ajax</a:t>
            </a:r>
            <a:r>
              <a:rPr lang="fr-FR" sz="1400" dirty="0" smtClean="0"/>
              <a:t> call to </a:t>
            </a:r>
            <a:r>
              <a:rPr lang="fr-FR" sz="1400" dirty="0" err="1" smtClean="0"/>
              <a:t>google</a:t>
            </a:r>
            <a:r>
              <a:rPr lang="fr-FR" sz="1400" dirty="0" smtClean="0"/>
              <a:t> </a:t>
            </a:r>
            <a:r>
              <a:rPr lang="fr-FR" sz="1400" dirty="0" err="1" smtClean="0"/>
              <a:t>analytics</a:t>
            </a:r>
            <a:r>
              <a:rPr lang="fr-FR" sz="1400" dirty="0" smtClean="0"/>
              <a:t>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done</a:t>
            </a:r>
            <a:r>
              <a:rPr lang="fr-FR" sz="1400" dirty="0" smtClean="0"/>
              <a:t> via </a:t>
            </a:r>
            <a:r>
              <a:rPr lang="fr-FR" sz="1400" dirty="0" err="1" smtClean="0"/>
              <a:t>following</a:t>
            </a:r>
            <a:r>
              <a:rPr lang="fr-FR" sz="1400" dirty="0" smtClean="0"/>
              <a:t> </a:t>
            </a:r>
            <a:r>
              <a:rPr lang="fr-FR" sz="1400" dirty="0" err="1" smtClean="0"/>
              <a:t>js</a:t>
            </a:r>
            <a:r>
              <a:rPr lang="fr-FR" sz="1400" dirty="0" smtClean="0"/>
              <a:t> script 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pPr algn="just"/>
            <a:r>
              <a:rPr lang="fr-FR" sz="1400" dirty="0"/>
              <a:t> </a:t>
            </a:r>
            <a:r>
              <a:rPr lang="fr-FR" sz="1400" dirty="0" smtClean="0"/>
              <a:t>                                           in case URL </a:t>
            </a:r>
            <a:r>
              <a:rPr lang="fr-FR" sz="1400" dirty="0" err="1" smtClean="0"/>
              <a:t>contains</a:t>
            </a:r>
            <a:r>
              <a:rPr lang="fr-FR" sz="1400" dirty="0" smtClean="0"/>
              <a:t> the </a:t>
            </a:r>
            <a:r>
              <a:rPr lang="fr-FR" sz="1400" dirty="0" err="1" smtClean="0"/>
              <a:t>current</a:t>
            </a:r>
            <a:r>
              <a:rPr lang="fr-FR" sz="1400" dirty="0" smtClean="0"/>
              <a:t> page </a:t>
            </a:r>
            <a:r>
              <a:rPr lang="fr-FR" sz="1400" dirty="0" err="1" smtClean="0"/>
              <a:t>path</a:t>
            </a:r>
            <a:r>
              <a:rPr lang="fr-FR" sz="1400" dirty="0" smtClean="0"/>
              <a:t> </a:t>
            </a:r>
          </a:p>
          <a:p>
            <a:pPr algn="just"/>
            <a:r>
              <a:rPr lang="fr-FR" sz="1400" dirty="0" smtClean="0"/>
              <a:t>	OR</a:t>
            </a:r>
          </a:p>
          <a:p>
            <a:pPr lvl="1" algn="just"/>
            <a:r>
              <a:rPr lang="fr-FR" sz="1400" dirty="0" smtClean="0"/>
              <a:t>                                           in case URL </a:t>
            </a:r>
            <a:r>
              <a:rPr lang="fr-FR" sz="1400" dirty="0" err="1" smtClean="0"/>
              <a:t>does</a:t>
            </a:r>
            <a:r>
              <a:rPr lang="fr-FR" sz="1400" dirty="0" smtClean="0"/>
              <a:t> not </a:t>
            </a:r>
            <a:r>
              <a:rPr lang="fr-FR" sz="1400" dirty="0" err="1" smtClean="0"/>
              <a:t>contain</a:t>
            </a:r>
            <a:r>
              <a:rPr lang="fr-FR" sz="1400" dirty="0" smtClean="0"/>
              <a:t> exact page </a:t>
            </a:r>
            <a:r>
              <a:rPr lang="fr-FR" sz="1400" dirty="0" err="1" smtClean="0"/>
              <a:t>path</a:t>
            </a:r>
            <a:r>
              <a:rPr lang="fr-FR" sz="1400" dirty="0" smtClean="0"/>
              <a:t> ,in </a:t>
            </a:r>
            <a:r>
              <a:rPr lang="fr-FR" sz="1400" dirty="0" err="1" smtClean="0"/>
              <a:t>that</a:t>
            </a:r>
            <a:r>
              <a:rPr lang="fr-FR" sz="1400" dirty="0" smtClean="0"/>
              <a:t> case url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complted</a:t>
            </a:r>
            <a:r>
              <a:rPr lang="fr-FR" sz="1400" dirty="0" smtClean="0"/>
              <a:t> and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send</a:t>
            </a:r>
            <a:r>
              <a:rPr lang="fr-FR" sz="1400" dirty="0" smtClean="0"/>
              <a:t> in a </a:t>
            </a:r>
            <a:r>
              <a:rPr lang="fr-FR" sz="1400" dirty="0" err="1" smtClean="0"/>
              <a:t>javascript</a:t>
            </a:r>
            <a:r>
              <a:rPr lang="fr-FR" sz="1400" dirty="0" smtClean="0"/>
              <a:t> variable as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done</a:t>
            </a:r>
            <a:r>
              <a:rPr lang="fr-FR" sz="1400" dirty="0" smtClean="0"/>
              <a:t> in </a:t>
            </a:r>
            <a:r>
              <a:rPr lang="fr-FR" sz="1400" dirty="0" err="1" smtClean="0"/>
              <a:t>this</a:t>
            </a:r>
            <a:r>
              <a:rPr lang="fr-FR" sz="1400" dirty="0" smtClean="0"/>
              <a:t> case </a:t>
            </a:r>
            <a:r>
              <a:rPr lang="fr-FR" sz="1400" dirty="0" err="1" smtClean="0"/>
              <a:t>with</a:t>
            </a:r>
            <a:r>
              <a:rPr lang="fr-FR" sz="1400" dirty="0" smtClean="0"/>
              <a:t> </a:t>
            </a:r>
            <a:r>
              <a:rPr lang="fr-FR" sz="1400" i="1" dirty="0" smtClean="0"/>
              <a:t>‘’</a:t>
            </a:r>
            <a:r>
              <a:rPr lang="fr-FR" sz="1400" i="1" dirty="0" err="1" smtClean="0"/>
              <a:t>path</a:t>
            </a:r>
            <a:r>
              <a:rPr lang="fr-FR" sz="1400" i="1" dirty="0" smtClean="0"/>
              <a:t>’’ </a:t>
            </a:r>
            <a:r>
              <a:rPr lang="fr-FR" sz="1400" dirty="0" smtClean="0"/>
              <a:t>variable.</a:t>
            </a:r>
          </a:p>
          <a:p>
            <a:pPr lvl="1" algn="just"/>
            <a:endParaRPr lang="fr-FR" sz="1400" dirty="0"/>
          </a:p>
          <a:p>
            <a:pPr lvl="1" algn="just"/>
            <a:r>
              <a:rPr lang="fr-FR" sz="1400" dirty="0" smtClean="0"/>
              <a:t>All the </a:t>
            </a:r>
            <a:r>
              <a:rPr lang="fr-FR" sz="1400" dirty="0" err="1" smtClean="0"/>
              <a:t>other</a:t>
            </a:r>
            <a:r>
              <a:rPr lang="fr-FR" sz="1400" dirty="0" smtClean="0"/>
              <a:t> </a:t>
            </a:r>
            <a:r>
              <a:rPr lang="fr-FR" sz="1400" dirty="0" err="1" smtClean="0"/>
              <a:t>properties</a:t>
            </a:r>
            <a:r>
              <a:rPr lang="fr-FR" sz="1400" dirty="0" smtClean="0"/>
              <a:t> are set </a:t>
            </a:r>
            <a:r>
              <a:rPr lang="fr-FR" sz="1400" dirty="0" err="1" smtClean="0"/>
              <a:t>befor</a:t>
            </a:r>
            <a:r>
              <a:rPr lang="fr-FR" sz="1400" dirty="0" smtClean="0"/>
              <a:t> </a:t>
            </a:r>
            <a:r>
              <a:rPr lang="fr-FR" sz="1400" dirty="0" err="1" smtClean="0"/>
              <a:t>this</a:t>
            </a:r>
            <a:r>
              <a:rPr lang="fr-FR" sz="1400" dirty="0" smtClean="0"/>
              <a:t> </a:t>
            </a:r>
            <a:r>
              <a:rPr lang="fr-FR" sz="1400" dirty="0" err="1" smtClean="0"/>
              <a:t>send</a:t>
            </a:r>
            <a:r>
              <a:rPr lang="fr-FR" sz="1400" dirty="0" smtClean="0"/>
              <a:t>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 and are </a:t>
            </a:r>
            <a:r>
              <a:rPr lang="fr-FR" sz="1400" dirty="0" err="1" smtClean="0"/>
              <a:t>shared</a:t>
            </a:r>
            <a:r>
              <a:rPr lang="fr-FR" sz="1400" dirty="0" smtClean="0"/>
              <a:t> in </a:t>
            </a:r>
            <a:r>
              <a:rPr lang="fr-FR" sz="1400" dirty="0" err="1" smtClean="0"/>
              <a:t>google</a:t>
            </a:r>
            <a:r>
              <a:rPr lang="fr-FR" sz="1400" dirty="0" smtClean="0"/>
              <a:t> </a:t>
            </a:r>
            <a:r>
              <a:rPr lang="fr-FR" sz="1400" dirty="0" err="1" smtClean="0"/>
              <a:t>analytics</a:t>
            </a:r>
            <a:r>
              <a:rPr lang="fr-FR" sz="1400" dirty="0" smtClean="0"/>
              <a:t>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 .</a:t>
            </a:r>
          </a:p>
          <a:p>
            <a:endParaRPr lang="fr-FR" sz="1200" dirty="0"/>
          </a:p>
          <a:p>
            <a:r>
              <a:rPr lang="fr-FR" sz="1100" dirty="0" smtClean="0"/>
              <a:t>        </a:t>
            </a:r>
          </a:p>
        </p:txBody>
      </p:sp>
      <p:sp>
        <p:nvSpPr>
          <p:cNvPr id="9" name="Rectangle à coins arrondis 8"/>
          <p:cNvSpPr/>
          <p:nvPr/>
        </p:nvSpPr>
        <p:spPr bwMode="auto">
          <a:xfrm>
            <a:off x="2000590" y="332570"/>
            <a:ext cx="604884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Configuring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Google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in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roject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Arrow 1"/>
          <p:cNvSpPr/>
          <p:nvPr/>
        </p:nvSpPr>
        <p:spPr bwMode="auto">
          <a:xfrm>
            <a:off x="560390" y="2348850"/>
            <a:ext cx="360050" cy="45719"/>
          </a:xfrm>
          <a:prstGeom prst="right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IN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3" y="4869200"/>
            <a:ext cx="21240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426" y="4467933"/>
            <a:ext cx="156210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7040711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272351" y="836640"/>
            <a:ext cx="9361299" cy="358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err="1" smtClean="0"/>
              <a:t>Configuring</a:t>
            </a:r>
            <a:r>
              <a:rPr lang="fr-FR" sz="1400" b="1" dirty="0" smtClean="0"/>
              <a:t> application </a:t>
            </a:r>
          </a:p>
          <a:p>
            <a:endParaRPr lang="fr-FR" sz="800" dirty="0" smtClean="0"/>
          </a:p>
          <a:p>
            <a:pPr algn="just"/>
            <a:r>
              <a:rPr lang="fr-FR" sz="1400" dirty="0" err="1" smtClean="0"/>
              <a:t>Segregate</a:t>
            </a:r>
            <a:r>
              <a:rPr lang="fr-FR" sz="1400" dirty="0" smtClean="0"/>
              <a:t> the </a:t>
            </a:r>
            <a:r>
              <a:rPr lang="fr-FR" sz="1400" dirty="0" err="1" smtClean="0"/>
              <a:t>properties</a:t>
            </a:r>
            <a:r>
              <a:rPr lang="fr-FR" sz="1400" dirty="0" smtClean="0"/>
              <a:t> </a:t>
            </a:r>
            <a:r>
              <a:rPr lang="fr-FR" sz="1400" dirty="0" err="1" smtClean="0"/>
              <a:t>which</a:t>
            </a:r>
            <a:r>
              <a:rPr lang="fr-FR" sz="1400" dirty="0" smtClean="0"/>
              <a:t> do not change over the session of </a:t>
            </a:r>
            <a:r>
              <a:rPr lang="fr-FR" sz="1400" dirty="0" err="1" smtClean="0"/>
              <a:t>logged</a:t>
            </a:r>
            <a:r>
              <a:rPr lang="fr-FR" sz="1400" dirty="0" smtClean="0"/>
              <a:t> in user ,</a:t>
            </a:r>
            <a:r>
              <a:rPr lang="fr-FR" sz="1400" dirty="0" err="1" smtClean="0"/>
              <a:t>so</a:t>
            </a:r>
            <a:r>
              <a:rPr lang="fr-FR" sz="1400" dirty="0" smtClean="0"/>
              <a:t> </a:t>
            </a:r>
            <a:r>
              <a:rPr lang="fr-FR" sz="1400" dirty="0" err="1" smtClean="0"/>
              <a:t>that</a:t>
            </a:r>
            <a:r>
              <a:rPr lang="fr-FR" sz="1400" dirty="0" smtClean="0"/>
              <a:t> </a:t>
            </a:r>
            <a:r>
              <a:rPr lang="fr-FR" sz="1400" dirty="0" err="1" smtClean="0"/>
              <a:t>these</a:t>
            </a:r>
            <a:r>
              <a:rPr lang="fr-FR" sz="1400" dirty="0" smtClean="0"/>
              <a:t> are </a:t>
            </a:r>
            <a:r>
              <a:rPr lang="fr-FR" sz="1400" dirty="0" err="1" smtClean="0"/>
              <a:t>called</a:t>
            </a:r>
            <a:r>
              <a:rPr lang="fr-FR" sz="1400" dirty="0" smtClean="0"/>
              <a:t> </a:t>
            </a:r>
            <a:r>
              <a:rPr lang="fr-FR" sz="1400" dirty="0" err="1" smtClean="0"/>
              <a:t>only</a:t>
            </a:r>
            <a:r>
              <a:rPr lang="fr-FR" sz="1400" dirty="0" smtClean="0"/>
              <a:t> once :</a:t>
            </a:r>
          </a:p>
          <a:p>
            <a:pPr algn="just"/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 err="1" smtClean="0"/>
              <a:t>Loading</a:t>
            </a:r>
            <a:r>
              <a:rPr lang="fr-FR" sz="1400" dirty="0" smtClean="0"/>
              <a:t> of script analytics.j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 smtClean="0"/>
              <a:t>Setting </a:t>
            </a:r>
            <a:r>
              <a:rPr lang="fr-FR" sz="1400" dirty="0" err="1" smtClean="0"/>
              <a:t>tracking</a:t>
            </a:r>
            <a:r>
              <a:rPr lang="fr-FR" sz="1400" dirty="0" smtClean="0"/>
              <a:t> I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 smtClean="0"/>
              <a:t>Setting User ID</a:t>
            </a:r>
          </a:p>
          <a:p>
            <a:pPr algn="just"/>
            <a:endParaRPr lang="fr-FR" sz="1400" dirty="0" smtClean="0"/>
          </a:p>
          <a:p>
            <a:pPr algn="just"/>
            <a:r>
              <a:rPr lang="fr-FR" sz="1400" dirty="0" smtClean="0"/>
              <a:t>This code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included</a:t>
            </a:r>
            <a:r>
              <a:rPr lang="fr-FR" sz="1400" dirty="0" smtClean="0"/>
              <a:t> in a page </a:t>
            </a:r>
            <a:r>
              <a:rPr lang="fr-FR" sz="1400" dirty="0" err="1" smtClean="0"/>
              <a:t>that</a:t>
            </a:r>
            <a:r>
              <a:rPr lang="fr-FR" sz="1400" dirty="0" smtClean="0"/>
              <a:t>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loaded</a:t>
            </a:r>
            <a:r>
              <a:rPr lang="fr-FR" sz="1400" dirty="0" smtClean="0"/>
              <a:t> </a:t>
            </a:r>
            <a:r>
              <a:rPr lang="fr-FR" sz="1400" dirty="0" err="1" smtClean="0"/>
              <a:t>very</a:t>
            </a:r>
            <a:r>
              <a:rPr lang="fr-FR" sz="1400" dirty="0" smtClean="0"/>
              <a:t> first </a:t>
            </a:r>
            <a:r>
              <a:rPr lang="fr-FR" sz="1400" dirty="0" err="1" smtClean="0"/>
              <a:t>when</a:t>
            </a:r>
            <a:r>
              <a:rPr lang="fr-FR" sz="1400" dirty="0" smtClean="0"/>
              <a:t> user logs </a:t>
            </a:r>
            <a:r>
              <a:rPr lang="fr-FR" sz="1400" dirty="0" err="1" smtClean="0"/>
              <a:t>into</a:t>
            </a:r>
            <a:r>
              <a:rPr lang="fr-FR" sz="1400" dirty="0" smtClean="0"/>
              <a:t> application . </a:t>
            </a:r>
            <a:endParaRPr lang="fr-FR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/>
          </a:p>
          <a:p>
            <a:pPr algn="just"/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endParaRPr lang="fr-FR" sz="1200" dirty="0"/>
          </a:p>
          <a:p>
            <a:r>
              <a:rPr lang="fr-FR" sz="1100" dirty="0" smtClean="0"/>
              <a:t>        </a:t>
            </a:r>
          </a:p>
        </p:txBody>
      </p:sp>
      <p:sp>
        <p:nvSpPr>
          <p:cNvPr id="9" name="Rectangle à coins arrondis 8"/>
          <p:cNvSpPr/>
          <p:nvPr/>
        </p:nvSpPr>
        <p:spPr bwMode="auto">
          <a:xfrm>
            <a:off x="2000590" y="332570"/>
            <a:ext cx="604884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Configuring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Google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in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roject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Arrow 1"/>
          <p:cNvSpPr/>
          <p:nvPr/>
        </p:nvSpPr>
        <p:spPr bwMode="auto">
          <a:xfrm>
            <a:off x="560390" y="2348850"/>
            <a:ext cx="360050" cy="45719"/>
          </a:xfrm>
          <a:prstGeom prst="right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IN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" name="Straight Arrow Connector 3"/>
          <p:cNvCxnSpPr/>
          <p:nvPr/>
        </p:nvCxnSpPr>
        <p:spPr bwMode="auto">
          <a:xfrm flipV="1">
            <a:off x="3440790" y="2521716"/>
            <a:ext cx="2880400" cy="720100"/>
          </a:xfrm>
          <a:prstGeom prst="straightConnector1">
            <a:avLst/>
          </a:prstGeom>
          <a:noFill/>
          <a:ln>
            <a:noFill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Arrow Connector 5"/>
          <p:cNvCxnSpPr/>
          <p:nvPr/>
        </p:nvCxnSpPr>
        <p:spPr bwMode="auto">
          <a:xfrm flipH="1">
            <a:off x="5745110" y="1988800"/>
            <a:ext cx="1224170" cy="360050"/>
          </a:xfrm>
          <a:prstGeom prst="straightConnector1">
            <a:avLst/>
          </a:prstGeom>
          <a:noFill/>
          <a:ln>
            <a:noFill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06" y="3429000"/>
            <a:ext cx="9440486" cy="309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190303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272351" y="836640"/>
            <a:ext cx="9361299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err="1" smtClean="0"/>
              <a:t>Configuring</a:t>
            </a:r>
            <a:r>
              <a:rPr lang="fr-FR" sz="1400" b="1" dirty="0" smtClean="0"/>
              <a:t> application </a:t>
            </a:r>
          </a:p>
          <a:p>
            <a:endParaRPr lang="fr-FR" sz="8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/>
          </a:p>
          <a:p>
            <a:pPr algn="just"/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endParaRPr lang="fr-FR" sz="1200" dirty="0"/>
          </a:p>
          <a:p>
            <a:r>
              <a:rPr lang="fr-FR" sz="1100" dirty="0" smtClean="0"/>
              <a:t>        </a:t>
            </a:r>
          </a:p>
        </p:txBody>
      </p:sp>
      <p:sp>
        <p:nvSpPr>
          <p:cNvPr id="9" name="Rectangle à coins arrondis 8"/>
          <p:cNvSpPr/>
          <p:nvPr/>
        </p:nvSpPr>
        <p:spPr bwMode="auto">
          <a:xfrm>
            <a:off x="2000590" y="332570"/>
            <a:ext cx="604884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Configuring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Google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in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roject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Arrow 1"/>
          <p:cNvSpPr/>
          <p:nvPr/>
        </p:nvSpPr>
        <p:spPr bwMode="auto">
          <a:xfrm>
            <a:off x="560390" y="2348850"/>
            <a:ext cx="360050" cy="45719"/>
          </a:xfrm>
          <a:prstGeom prst="right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IN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" name="Straight Arrow Connector 3"/>
          <p:cNvCxnSpPr/>
          <p:nvPr/>
        </p:nvCxnSpPr>
        <p:spPr bwMode="auto">
          <a:xfrm flipV="1">
            <a:off x="3440790" y="2521716"/>
            <a:ext cx="2880400" cy="720100"/>
          </a:xfrm>
          <a:prstGeom prst="straightConnector1">
            <a:avLst/>
          </a:prstGeom>
          <a:noFill/>
          <a:ln>
            <a:noFill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Arrow Connector 5"/>
          <p:cNvCxnSpPr/>
          <p:nvPr/>
        </p:nvCxnSpPr>
        <p:spPr bwMode="auto">
          <a:xfrm flipH="1">
            <a:off x="5745110" y="1988800"/>
            <a:ext cx="1224170" cy="360050"/>
          </a:xfrm>
          <a:prstGeom prst="straightConnector1">
            <a:avLst/>
          </a:prstGeom>
          <a:noFill/>
          <a:ln>
            <a:noFill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193" y="1283000"/>
            <a:ext cx="4107768" cy="1386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992" y="4149100"/>
            <a:ext cx="4428170" cy="2041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51" y="2881766"/>
            <a:ext cx="6120850" cy="1114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3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152" y="4136995"/>
            <a:ext cx="2902075" cy="1214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770290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272351" y="836640"/>
            <a:ext cx="9361299" cy="358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err="1" smtClean="0"/>
              <a:t>Configuring</a:t>
            </a:r>
            <a:r>
              <a:rPr lang="fr-FR" sz="1400" b="1" dirty="0" smtClean="0"/>
              <a:t> application </a:t>
            </a:r>
          </a:p>
          <a:p>
            <a:endParaRPr lang="fr-FR" sz="800" dirty="0" smtClean="0"/>
          </a:p>
          <a:p>
            <a:pPr algn="just"/>
            <a:r>
              <a:rPr lang="fr-FR" sz="1400" dirty="0" err="1" smtClean="0"/>
              <a:t>Then</a:t>
            </a:r>
            <a:r>
              <a:rPr lang="fr-FR" sz="1400" dirty="0" smtClean="0"/>
              <a:t> set up the </a:t>
            </a:r>
            <a:r>
              <a:rPr lang="fr-FR" sz="1400" dirty="0" err="1" smtClean="0"/>
              <a:t>properties</a:t>
            </a:r>
            <a:r>
              <a:rPr lang="fr-FR" sz="1400" dirty="0" smtClean="0"/>
              <a:t> </a:t>
            </a:r>
            <a:r>
              <a:rPr lang="fr-FR" sz="1400" dirty="0" err="1" smtClean="0"/>
              <a:t>which</a:t>
            </a:r>
            <a:r>
              <a:rPr lang="fr-FR" sz="1400" dirty="0" smtClean="0"/>
              <a:t> are </a:t>
            </a:r>
            <a:r>
              <a:rPr lang="fr-FR" sz="1400" dirty="0" err="1" smtClean="0"/>
              <a:t>included</a:t>
            </a:r>
            <a:r>
              <a:rPr lang="fr-FR" sz="1400" dirty="0" smtClean="0"/>
              <a:t> in </a:t>
            </a:r>
            <a:r>
              <a:rPr lang="fr-FR" sz="1400" dirty="0" err="1" smtClean="0"/>
              <a:t>each</a:t>
            </a:r>
            <a:r>
              <a:rPr lang="fr-FR" sz="1400" dirty="0" smtClean="0"/>
              <a:t> page 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 smtClean="0"/>
              <a:t>Page </a:t>
            </a:r>
            <a:r>
              <a:rPr lang="fr-FR" sz="1400" dirty="0" err="1" smtClean="0"/>
              <a:t>path</a:t>
            </a:r>
            <a:r>
              <a:rPr lang="fr-FR" sz="1400" dirty="0" smtClean="0"/>
              <a:t> of page </a:t>
            </a:r>
            <a:r>
              <a:rPr lang="fr-FR" sz="1400" dirty="0" err="1" smtClean="0"/>
              <a:t>being</a:t>
            </a:r>
            <a:r>
              <a:rPr lang="fr-FR" sz="1400" dirty="0" smtClean="0"/>
              <a:t> </a:t>
            </a:r>
            <a:r>
              <a:rPr lang="fr-FR" sz="1400" dirty="0" err="1" smtClean="0"/>
              <a:t>accessed</a:t>
            </a:r>
            <a:r>
              <a:rPr lang="fr-FR" sz="1400" dirty="0" smtClean="0"/>
              <a:t> 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 err="1" smtClean="0"/>
              <a:t>Properties</a:t>
            </a:r>
            <a:r>
              <a:rPr lang="fr-FR" sz="1400" dirty="0" smtClean="0"/>
              <a:t> to </a:t>
            </a:r>
            <a:r>
              <a:rPr lang="fr-FR" sz="1400" dirty="0" err="1" smtClean="0"/>
              <a:t>be</a:t>
            </a:r>
            <a:r>
              <a:rPr lang="fr-FR" sz="1400" dirty="0" smtClean="0"/>
              <a:t> </a:t>
            </a:r>
            <a:r>
              <a:rPr lang="fr-FR" sz="1400" dirty="0" err="1" smtClean="0"/>
              <a:t>shared</a:t>
            </a:r>
            <a:r>
              <a:rPr lang="fr-FR" sz="1400" dirty="0" smtClean="0"/>
              <a:t> </a:t>
            </a:r>
            <a:r>
              <a:rPr lang="fr-FR" sz="1400" dirty="0" err="1" smtClean="0"/>
              <a:t>along</a:t>
            </a:r>
            <a:r>
              <a:rPr lang="fr-FR" sz="1400" dirty="0" smtClean="0"/>
              <a:t> </a:t>
            </a:r>
            <a:r>
              <a:rPr lang="fr-FR" sz="1400" dirty="0" err="1" smtClean="0"/>
              <a:t>each</a:t>
            </a:r>
            <a:r>
              <a:rPr lang="fr-FR" sz="1400" dirty="0" smtClean="0"/>
              <a:t>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 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/>
          </a:p>
          <a:p>
            <a:pPr algn="just"/>
            <a:r>
              <a:rPr lang="fr-FR" sz="1400" dirty="0" err="1" smtClean="0"/>
              <a:t>Make</a:t>
            </a:r>
            <a:r>
              <a:rPr lang="fr-FR" sz="1400" dirty="0" smtClean="0"/>
              <a:t> sure to </a:t>
            </a:r>
            <a:r>
              <a:rPr lang="fr-FR" sz="1400" dirty="0" err="1" smtClean="0"/>
              <a:t>either</a:t>
            </a:r>
            <a:r>
              <a:rPr lang="fr-FR" sz="1400" dirty="0" smtClean="0"/>
              <a:t> </a:t>
            </a:r>
            <a:r>
              <a:rPr lang="fr-FR" sz="1400" dirty="0" err="1" smtClean="0"/>
              <a:t>include</a:t>
            </a:r>
            <a:r>
              <a:rPr lang="fr-FR" sz="1400" dirty="0" smtClean="0"/>
              <a:t> </a:t>
            </a:r>
            <a:r>
              <a:rPr lang="fr-FR" sz="1400" dirty="0" err="1" smtClean="0"/>
              <a:t>these</a:t>
            </a:r>
            <a:r>
              <a:rPr lang="fr-FR" sz="1400" dirty="0" smtClean="0"/>
              <a:t> scripts to </a:t>
            </a:r>
            <a:r>
              <a:rPr lang="fr-FR" sz="1400" dirty="0" err="1" smtClean="0"/>
              <a:t>be</a:t>
            </a:r>
            <a:r>
              <a:rPr lang="fr-FR" sz="1400" dirty="0" smtClean="0"/>
              <a:t> </a:t>
            </a:r>
            <a:r>
              <a:rPr lang="fr-FR" sz="1400" dirty="0" err="1" smtClean="0"/>
              <a:t>included</a:t>
            </a:r>
            <a:r>
              <a:rPr lang="fr-FR" sz="1400" dirty="0" smtClean="0"/>
              <a:t> in </a:t>
            </a:r>
            <a:r>
              <a:rPr lang="fr-FR" sz="1400" dirty="0" err="1" smtClean="0"/>
              <a:t>every</a:t>
            </a:r>
            <a:r>
              <a:rPr lang="fr-FR" sz="1400" dirty="0" smtClean="0"/>
              <a:t> page of application </a:t>
            </a:r>
            <a:r>
              <a:rPr lang="fr-FR" sz="1400" dirty="0" err="1" smtClean="0"/>
              <a:t>that</a:t>
            </a:r>
            <a:r>
              <a:rPr lang="fr-FR" sz="1400" dirty="0" smtClean="0"/>
              <a:t>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being</a:t>
            </a:r>
            <a:r>
              <a:rPr lang="fr-FR" sz="1400" dirty="0" smtClean="0"/>
              <a:t>  </a:t>
            </a:r>
            <a:r>
              <a:rPr lang="fr-FR" sz="1400" dirty="0" err="1" smtClean="0"/>
              <a:t>accessed</a:t>
            </a:r>
            <a:r>
              <a:rPr lang="fr-FR" sz="1400" dirty="0" smtClean="0"/>
              <a:t> or </a:t>
            </a:r>
            <a:r>
              <a:rPr lang="fr-FR" sz="1400" dirty="0" err="1" smtClean="0"/>
              <a:t>add</a:t>
            </a:r>
            <a:r>
              <a:rPr lang="fr-FR" sz="1400" dirty="0" smtClean="0"/>
              <a:t> </a:t>
            </a:r>
            <a:r>
              <a:rPr lang="fr-FR" sz="1400" dirty="0" err="1" smtClean="0"/>
              <a:t>it</a:t>
            </a:r>
            <a:r>
              <a:rPr lang="fr-FR" sz="1400" dirty="0" smtClean="0"/>
              <a:t> to a page </a:t>
            </a:r>
            <a:r>
              <a:rPr lang="fr-FR" sz="1400" dirty="0" err="1" smtClean="0"/>
              <a:t>that</a:t>
            </a:r>
            <a:r>
              <a:rPr lang="fr-FR" sz="1400" dirty="0" smtClean="0"/>
              <a:t>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subpart</a:t>
            </a:r>
            <a:r>
              <a:rPr lang="fr-FR" sz="1400" dirty="0" smtClean="0"/>
              <a:t> of </a:t>
            </a:r>
            <a:r>
              <a:rPr lang="fr-FR" sz="1400" dirty="0" err="1" smtClean="0"/>
              <a:t>each</a:t>
            </a:r>
            <a:r>
              <a:rPr lang="fr-FR" sz="1400" dirty="0" smtClean="0"/>
              <a:t> and </a:t>
            </a:r>
            <a:r>
              <a:rPr lang="fr-FR" sz="1400" dirty="0" err="1" smtClean="0"/>
              <a:t>every</a:t>
            </a:r>
            <a:r>
              <a:rPr lang="fr-FR" sz="1400" dirty="0" smtClean="0"/>
              <a:t> application page ( header page . Menu ,</a:t>
            </a:r>
            <a:r>
              <a:rPr lang="fr-FR" sz="1400" dirty="0" err="1" smtClean="0"/>
              <a:t>footer</a:t>
            </a:r>
            <a:r>
              <a:rPr lang="fr-FR" sz="1400" dirty="0" smtClean="0"/>
              <a:t> ,</a:t>
            </a:r>
            <a:r>
              <a:rPr lang="fr-FR" sz="1400" dirty="0" err="1" smtClean="0"/>
              <a:t>template</a:t>
            </a:r>
            <a:r>
              <a:rPr lang="fr-FR" sz="1400" dirty="0" smtClean="0"/>
              <a:t> </a:t>
            </a:r>
            <a:r>
              <a:rPr lang="fr-FR" sz="1400" dirty="0" err="1" smtClean="0"/>
              <a:t>etc</a:t>
            </a:r>
            <a:r>
              <a:rPr lang="fr-FR" sz="1400" dirty="0" smtClean="0"/>
              <a:t> ) </a:t>
            </a:r>
          </a:p>
          <a:p>
            <a:pPr algn="just"/>
            <a:endParaRPr lang="fr-FR" sz="1400" dirty="0"/>
          </a:p>
          <a:p>
            <a:pPr algn="just"/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/>
          </a:p>
          <a:p>
            <a:pPr algn="just"/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endParaRPr lang="fr-FR" sz="1200" dirty="0"/>
          </a:p>
          <a:p>
            <a:r>
              <a:rPr lang="fr-FR" sz="1100" dirty="0" smtClean="0"/>
              <a:t>        </a:t>
            </a:r>
          </a:p>
        </p:txBody>
      </p:sp>
      <p:sp>
        <p:nvSpPr>
          <p:cNvPr id="9" name="Rectangle à coins arrondis 8"/>
          <p:cNvSpPr/>
          <p:nvPr/>
        </p:nvSpPr>
        <p:spPr bwMode="auto">
          <a:xfrm>
            <a:off x="2000590" y="332570"/>
            <a:ext cx="604884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Configuring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Google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in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roject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Arrow 1"/>
          <p:cNvSpPr/>
          <p:nvPr/>
        </p:nvSpPr>
        <p:spPr bwMode="auto">
          <a:xfrm>
            <a:off x="560390" y="2348850"/>
            <a:ext cx="360050" cy="45719"/>
          </a:xfrm>
          <a:prstGeom prst="right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IN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" name="Straight Arrow Connector 3"/>
          <p:cNvCxnSpPr/>
          <p:nvPr/>
        </p:nvCxnSpPr>
        <p:spPr bwMode="auto">
          <a:xfrm flipV="1">
            <a:off x="3440790" y="2521716"/>
            <a:ext cx="2880400" cy="720100"/>
          </a:xfrm>
          <a:prstGeom prst="straightConnector1">
            <a:avLst/>
          </a:prstGeom>
          <a:noFill/>
          <a:ln>
            <a:noFill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Arrow Connector 5"/>
          <p:cNvCxnSpPr/>
          <p:nvPr/>
        </p:nvCxnSpPr>
        <p:spPr bwMode="auto">
          <a:xfrm flipH="1">
            <a:off x="5745110" y="1988800"/>
            <a:ext cx="1224170" cy="360050"/>
          </a:xfrm>
          <a:prstGeom prst="straightConnector1">
            <a:avLst/>
          </a:prstGeom>
          <a:noFill/>
          <a:ln>
            <a:noFill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75" y="2881766"/>
            <a:ext cx="8629650" cy="233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564649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OCESS : GA Project </a:t>
            </a:r>
            <a:r>
              <a:rPr lang="fr-FR" dirty="0" err="1" smtClean="0"/>
              <a:t>creation</a:t>
            </a:r>
            <a:endParaRPr lang="fr-FR" dirty="0"/>
          </a:p>
        </p:txBody>
      </p:sp>
      <p:sp>
        <p:nvSpPr>
          <p:cNvPr id="4" name="Rectangle à coins arrondis 3"/>
          <p:cNvSpPr/>
          <p:nvPr/>
        </p:nvSpPr>
        <p:spPr bwMode="auto">
          <a:xfrm>
            <a:off x="4584770" y="1709165"/>
            <a:ext cx="2952409" cy="371091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sz="1100" dirty="0" smtClean="0">
                <a:solidFill>
                  <a:schemeClr val="bg1"/>
                </a:solidFill>
              </a:rPr>
              <a:t>Check the </a:t>
            </a:r>
            <a:r>
              <a:rPr lang="fr-FR" sz="1100" dirty="0" err="1" smtClean="0">
                <a:solidFill>
                  <a:schemeClr val="bg1"/>
                </a:solidFill>
              </a:rPr>
              <a:t>provided</a:t>
            </a:r>
            <a:r>
              <a:rPr lang="fr-FR" sz="1100" dirty="0">
                <a:solidFill>
                  <a:schemeClr val="bg1"/>
                </a:solidFill>
              </a:rPr>
              <a:t> </a:t>
            </a:r>
            <a:r>
              <a:rPr lang="fr-FR" sz="1100" dirty="0" smtClean="0">
                <a:solidFill>
                  <a:schemeClr val="bg1"/>
                </a:solidFill>
              </a:rPr>
              <a:t>information </a:t>
            </a:r>
            <a:r>
              <a:rPr lang="fr-FR" sz="1000" dirty="0" smtClean="0">
                <a:solidFill>
                  <a:schemeClr val="bg1"/>
                </a:solidFill>
              </a:rPr>
              <a:t>(</a:t>
            </a:r>
            <a:r>
              <a:rPr lang="fr-FR" sz="1000" dirty="0" err="1" smtClean="0">
                <a:solidFill>
                  <a:schemeClr val="bg1"/>
                </a:solidFill>
              </a:rPr>
              <a:t>project</a:t>
            </a:r>
            <a:r>
              <a:rPr lang="fr-FR" sz="1000" dirty="0" smtClean="0">
                <a:solidFill>
                  <a:schemeClr val="bg1"/>
                </a:solidFill>
              </a:rPr>
              <a:t> </a:t>
            </a:r>
            <a:r>
              <a:rPr lang="fr-FR" sz="1000" dirty="0" err="1" smtClean="0">
                <a:solidFill>
                  <a:schemeClr val="bg1"/>
                </a:solidFill>
              </a:rPr>
              <a:t>name</a:t>
            </a:r>
            <a:r>
              <a:rPr lang="fr-FR" sz="1000" dirty="0" smtClean="0">
                <a:solidFill>
                  <a:schemeClr val="bg1"/>
                </a:solidFill>
              </a:rPr>
              <a:t>, URL…)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" name="Flèche droite 15"/>
          <p:cNvSpPr/>
          <p:nvPr/>
        </p:nvSpPr>
        <p:spPr bwMode="auto">
          <a:xfrm rot="5400000">
            <a:off x="5987179" y="2098599"/>
            <a:ext cx="200973" cy="125395"/>
          </a:xfrm>
          <a:prstGeom prst="rightArrow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tangle à coins arrondis 16"/>
          <p:cNvSpPr/>
          <p:nvPr/>
        </p:nvSpPr>
        <p:spPr bwMode="auto">
          <a:xfrm>
            <a:off x="4584771" y="2261783"/>
            <a:ext cx="2952408" cy="257552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sz="1100" dirty="0" err="1" smtClean="0">
                <a:solidFill>
                  <a:schemeClr val="bg1"/>
                </a:solidFill>
              </a:rPr>
              <a:t>Create</a:t>
            </a:r>
            <a:r>
              <a:rPr lang="fr-FR" sz="1100" dirty="0" smtClean="0">
                <a:solidFill>
                  <a:schemeClr val="bg1"/>
                </a:solidFill>
              </a:rPr>
              <a:t> an </a:t>
            </a:r>
            <a:r>
              <a:rPr lang="fr-FR" sz="1100" dirty="0" err="1" smtClean="0">
                <a:solidFill>
                  <a:schemeClr val="bg1"/>
                </a:solidFill>
              </a:rPr>
              <a:t>account</a:t>
            </a:r>
            <a:r>
              <a:rPr lang="fr-FR" sz="1100" dirty="0" smtClean="0">
                <a:solidFill>
                  <a:schemeClr val="bg1"/>
                </a:solidFill>
              </a:rPr>
              <a:t> in Google </a:t>
            </a:r>
            <a:r>
              <a:rPr lang="fr-FR" sz="1100" dirty="0" err="1" smtClean="0">
                <a:solidFill>
                  <a:schemeClr val="bg1"/>
                </a:solidFill>
              </a:rPr>
              <a:t>Analytics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AutoShape 2" descr="Résultat de recherche d'images pour &quot;mail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8" name="AutoShape 4" descr="Résultat de recherche d'images pour &quot;mail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" name="Virage 9"/>
          <p:cNvSpPr/>
          <p:nvPr/>
        </p:nvSpPr>
        <p:spPr bwMode="auto">
          <a:xfrm rot="5400000">
            <a:off x="4914746" y="467799"/>
            <a:ext cx="257554" cy="2197327"/>
          </a:xfrm>
          <a:prstGeom prst="bentArrow">
            <a:avLst>
              <a:gd name="adj1" fmla="val 14693"/>
              <a:gd name="adj2" fmla="val 20877"/>
              <a:gd name="adj3" fmla="val 31184"/>
              <a:gd name="adj4" fmla="val 51996"/>
            </a:avLst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Virage 11"/>
          <p:cNvSpPr/>
          <p:nvPr/>
        </p:nvSpPr>
        <p:spPr bwMode="auto">
          <a:xfrm rot="10800000">
            <a:off x="4448930" y="4797190"/>
            <a:ext cx="1634648" cy="236820"/>
          </a:xfrm>
          <a:prstGeom prst="bentArrow">
            <a:avLst>
              <a:gd name="adj1" fmla="val 18301"/>
              <a:gd name="adj2" fmla="val 25000"/>
              <a:gd name="adj3" fmla="val 27062"/>
              <a:gd name="adj4" fmla="val 43750"/>
            </a:avLst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520940" y="1484730"/>
            <a:ext cx="853119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</a:t>
            </a:r>
            <a:r>
              <a:rPr lang="fr-FR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EBIZ</a:t>
            </a:r>
            <a:endParaRPr lang="fr-FR" sz="1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512705" y="2022796"/>
            <a:ext cx="853119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</a:t>
            </a:r>
            <a:r>
              <a:rPr lang="fr-FR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EBIZ</a:t>
            </a:r>
            <a:endParaRPr lang="fr-FR" sz="1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531941" y="2481828"/>
            <a:ext cx="853119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</a:t>
            </a:r>
            <a:r>
              <a:rPr lang="fr-FR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EBIZ</a:t>
            </a:r>
            <a:endParaRPr lang="fr-FR" sz="1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533456" y="3434515"/>
            <a:ext cx="1371914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JAVA DELIVERY</a:t>
            </a:r>
            <a:endParaRPr lang="fr-FR" sz="1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53" name="Virage 52"/>
          <p:cNvSpPr/>
          <p:nvPr/>
        </p:nvSpPr>
        <p:spPr bwMode="auto">
          <a:xfrm rot="5400000">
            <a:off x="8147536" y="2593635"/>
            <a:ext cx="210508" cy="1593198"/>
          </a:xfrm>
          <a:prstGeom prst="bentArrow">
            <a:avLst>
              <a:gd name="adj1" fmla="val 14693"/>
              <a:gd name="adj2" fmla="val 20877"/>
              <a:gd name="adj3" fmla="val 31184"/>
              <a:gd name="adj4" fmla="val 51996"/>
            </a:avLst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4" name="Virage 53"/>
          <p:cNvSpPr/>
          <p:nvPr/>
        </p:nvSpPr>
        <p:spPr bwMode="auto">
          <a:xfrm rot="10800000">
            <a:off x="7533455" y="4581160"/>
            <a:ext cx="1426632" cy="203549"/>
          </a:xfrm>
          <a:prstGeom prst="bentArrow">
            <a:avLst>
              <a:gd name="adj1" fmla="val 22235"/>
              <a:gd name="adj2" fmla="val 25000"/>
              <a:gd name="adj3" fmla="val 27062"/>
              <a:gd name="adj4" fmla="val 43750"/>
            </a:avLst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5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89274">
            <a:off x="7425671" y="3901389"/>
            <a:ext cx="361507" cy="40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Rectangle à coins arrondis 48"/>
          <p:cNvSpPr/>
          <p:nvPr/>
        </p:nvSpPr>
        <p:spPr bwMode="auto">
          <a:xfrm>
            <a:off x="7638282" y="3508559"/>
            <a:ext cx="2203218" cy="369057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Include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the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tracking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ID in the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the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application’s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source code</a:t>
            </a:r>
          </a:p>
        </p:txBody>
      </p:sp>
      <p:sp>
        <p:nvSpPr>
          <p:cNvPr id="51" name="Rectangle à coins arrondis 50"/>
          <p:cNvSpPr/>
          <p:nvPr/>
        </p:nvSpPr>
        <p:spPr bwMode="auto">
          <a:xfrm>
            <a:off x="7638282" y="4093646"/>
            <a:ext cx="2203218" cy="49855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Send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a confirmation to the EBIZ team once the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development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is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done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533456" y="3877615"/>
            <a:ext cx="1371914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JAVA DELIVERY</a:t>
            </a:r>
            <a:endParaRPr lang="fr-FR" sz="1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56" name="Flèche droite 55"/>
          <p:cNvSpPr/>
          <p:nvPr/>
        </p:nvSpPr>
        <p:spPr bwMode="auto">
          <a:xfrm rot="5400000">
            <a:off x="8852530" y="3941595"/>
            <a:ext cx="222895" cy="117216"/>
          </a:xfrm>
          <a:prstGeom prst="rightArrow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6451808" y="6335830"/>
            <a:ext cx="418998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*It </a:t>
            </a:r>
            <a:r>
              <a:rPr lang="en-US" sz="1000" dirty="0">
                <a:solidFill>
                  <a:srgbClr val="000000"/>
                </a:solidFill>
              </a:rPr>
              <a:t>may take up to 24 hours for data </a:t>
            </a:r>
            <a:r>
              <a:rPr lang="en-US" sz="1000" dirty="0" smtClean="0">
                <a:solidFill>
                  <a:srgbClr val="000000"/>
                </a:solidFill>
              </a:rPr>
              <a:t>to </a:t>
            </a:r>
            <a:r>
              <a:rPr lang="en-US" sz="1000" dirty="0">
                <a:solidFill>
                  <a:srgbClr val="000000"/>
                </a:solidFill>
              </a:rPr>
              <a:t>appear in </a:t>
            </a:r>
            <a:r>
              <a:rPr lang="en-US" sz="1000" dirty="0" smtClean="0">
                <a:solidFill>
                  <a:srgbClr val="000000"/>
                </a:solidFill>
              </a:rPr>
              <a:t>the </a:t>
            </a:r>
            <a:r>
              <a:rPr lang="en-US" sz="1000" dirty="0">
                <a:solidFill>
                  <a:srgbClr val="000000"/>
                </a:solidFill>
              </a:rPr>
              <a:t>reports</a:t>
            </a:r>
            <a:endParaRPr lang="fr-FR" sz="1000" dirty="0">
              <a:solidFill>
                <a:srgbClr val="000000"/>
              </a:solidFill>
            </a:endParaRPr>
          </a:p>
        </p:txBody>
      </p:sp>
      <p:pic>
        <p:nvPicPr>
          <p:cNvPr id="5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89274">
            <a:off x="4351132" y="3037269"/>
            <a:ext cx="361507" cy="40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à coins arrondis 18"/>
          <p:cNvSpPr/>
          <p:nvPr/>
        </p:nvSpPr>
        <p:spPr bwMode="auto">
          <a:xfrm>
            <a:off x="4584771" y="3212970"/>
            <a:ext cx="2952408" cy="356034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sz="10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Send</a:t>
            </a:r>
            <a:r>
              <a:rPr kumimoji="0" lang="fr-FR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lang="fr-FR" sz="1000" dirty="0" smtClean="0">
                <a:solidFill>
                  <a:schemeClr val="bg1"/>
                </a:solidFill>
              </a:rPr>
              <a:t>t</a:t>
            </a:r>
            <a:r>
              <a:rPr kumimoji="0" lang="fr-FR" sz="1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he </a:t>
            </a:r>
            <a:r>
              <a:rPr kumimoji="0" lang="fr-FR" sz="10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tracking</a:t>
            </a:r>
            <a:r>
              <a:rPr kumimoji="0" lang="fr-FR" sz="1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code and the script </a:t>
            </a:r>
            <a:r>
              <a:rPr kumimoji="0" lang="fr-FR" sz="10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generated</a:t>
            </a:r>
            <a:r>
              <a:rPr kumimoji="0" lang="fr-FR" sz="1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by GA </a:t>
            </a:r>
            <a:r>
              <a:rPr lang="fr-FR" sz="1000" dirty="0" smtClean="0">
                <a:solidFill>
                  <a:schemeClr val="bg1"/>
                </a:solidFill>
              </a:rPr>
              <a:t>to the JAVA DELIVERY team in Nantes</a:t>
            </a:r>
            <a:endParaRPr kumimoji="0" lang="fr-FR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4523761" y="2998445"/>
            <a:ext cx="853119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</a:t>
            </a:r>
            <a:r>
              <a:rPr lang="fr-FR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EBIZ</a:t>
            </a:r>
            <a:endParaRPr lang="fr-FR" sz="1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60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89274">
            <a:off x="4351132" y="4261439"/>
            <a:ext cx="361507" cy="40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Rectangle à coins arrondis 43"/>
          <p:cNvSpPr/>
          <p:nvPr/>
        </p:nvSpPr>
        <p:spPr bwMode="auto">
          <a:xfrm>
            <a:off x="4584769" y="4437140"/>
            <a:ext cx="2952409" cy="43206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Inform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the ISM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roject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manager of the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availability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of the GA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account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(*)</a:t>
            </a:r>
          </a:p>
        </p:txBody>
      </p:sp>
      <p:sp>
        <p:nvSpPr>
          <p:cNvPr id="46" name="Rectangle 45"/>
          <p:cNvSpPr/>
          <p:nvPr/>
        </p:nvSpPr>
        <p:spPr>
          <a:xfrm>
            <a:off x="4523761" y="4232151"/>
            <a:ext cx="853119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</a:t>
            </a:r>
            <a:r>
              <a:rPr lang="fr-FR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EBIZ</a:t>
            </a:r>
            <a:endParaRPr lang="fr-FR" sz="1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6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89274">
            <a:off x="2550882" y="1237019"/>
            <a:ext cx="361507" cy="40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à coins arrondis 2"/>
          <p:cNvSpPr/>
          <p:nvPr/>
        </p:nvSpPr>
        <p:spPr bwMode="auto">
          <a:xfrm>
            <a:off x="2792699" y="1376715"/>
            <a:ext cx="1656231" cy="48751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sz="1100" dirty="0" err="1" smtClean="0">
                <a:solidFill>
                  <a:schemeClr val="bg1"/>
                </a:solidFill>
              </a:rPr>
              <a:t>Send</a:t>
            </a:r>
            <a:r>
              <a:rPr lang="fr-FR" sz="1100" dirty="0" smtClean="0">
                <a:solidFill>
                  <a:schemeClr val="bg1"/>
                </a:solidFill>
              </a:rPr>
              <a:t> a Google </a:t>
            </a:r>
            <a:r>
              <a:rPr lang="fr-FR" sz="1100" dirty="0" err="1" smtClean="0">
                <a:solidFill>
                  <a:schemeClr val="bg1"/>
                </a:solidFill>
              </a:rPr>
              <a:t>Analytics</a:t>
            </a:r>
            <a:r>
              <a:rPr lang="fr-FR" sz="1100" dirty="0" smtClean="0">
                <a:solidFill>
                  <a:schemeClr val="bg1"/>
                </a:solidFill>
              </a:rPr>
              <a:t> </a:t>
            </a:r>
            <a:r>
              <a:rPr lang="fr-FR" sz="1100" dirty="0">
                <a:solidFill>
                  <a:schemeClr val="bg1"/>
                </a:solidFill>
              </a:rPr>
              <a:t>P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oject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creation</a:t>
            </a:r>
            <a:r>
              <a:rPr kumimoji="0" lang="fr-F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</a:t>
            </a:r>
            <a:r>
              <a:rPr kumimoji="0" lang="fr-FR" sz="11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equest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707897" y="1160685"/>
            <a:ext cx="732893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spc="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</a:t>
            </a:r>
            <a:r>
              <a:rPr lang="fr-FR" sz="12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pm</a:t>
            </a:r>
            <a:endParaRPr lang="fr-FR" sz="12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68" name="Virage 67"/>
          <p:cNvSpPr/>
          <p:nvPr/>
        </p:nvSpPr>
        <p:spPr bwMode="auto">
          <a:xfrm rot="5400000">
            <a:off x="2682675" y="262569"/>
            <a:ext cx="220049" cy="2016280"/>
          </a:xfrm>
          <a:prstGeom prst="bentArrow">
            <a:avLst>
              <a:gd name="adj1" fmla="val 14693"/>
              <a:gd name="adj2" fmla="val 20877"/>
              <a:gd name="adj3" fmla="val 31184"/>
              <a:gd name="adj4" fmla="val 51996"/>
            </a:avLst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89274">
            <a:off x="174552" y="899148"/>
            <a:ext cx="361507" cy="40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Rectangle à coins arrondis 65"/>
          <p:cNvSpPr/>
          <p:nvPr/>
        </p:nvSpPr>
        <p:spPr bwMode="auto">
          <a:xfrm>
            <a:off x="430337" y="1059788"/>
            <a:ext cx="1972275" cy="377847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sz="1100" dirty="0" err="1" smtClean="0">
                <a:solidFill>
                  <a:schemeClr val="bg1"/>
                </a:solidFill>
              </a:rPr>
              <a:t>Request</a:t>
            </a:r>
            <a:r>
              <a:rPr lang="fr-FR" sz="1100" dirty="0" smtClean="0">
                <a:solidFill>
                  <a:schemeClr val="bg1"/>
                </a:solidFill>
              </a:rPr>
              <a:t> a GA </a:t>
            </a:r>
            <a:r>
              <a:rPr lang="fr-FR" sz="1100" dirty="0" err="1" smtClean="0">
                <a:solidFill>
                  <a:schemeClr val="bg1"/>
                </a:solidFill>
              </a:rPr>
              <a:t>Account</a:t>
            </a:r>
            <a:r>
              <a:rPr lang="fr-FR" sz="1100" dirty="0" smtClean="0">
                <a:solidFill>
                  <a:schemeClr val="bg1"/>
                </a:solidFill>
              </a:rPr>
              <a:t> for a </a:t>
            </a:r>
            <a:r>
              <a:rPr lang="fr-FR" sz="1100" dirty="0" err="1" smtClean="0">
                <a:solidFill>
                  <a:schemeClr val="bg1"/>
                </a:solidFill>
              </a:rPr>
              <a:t>given</a:t>
            </a:r>
            <a:r>
              <a:rPr lang="fr-FR" sz="1100" dirty="0" smtClean="0">
                <a:solidFill>
                  <a:schemeClr val="bg1"/>
                </a:solidFill>
              </a:rPr>
              <a:t> application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294241" y="836640"/>
            <a:ext cx="1244251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BUSINESS PM</a:t>
            </a:r>
            <a:endParaRPr lang="fr-FR" sz="12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0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89274">
            <a:off x="2550882" y="5197569"/>
            <a:ext cx="361507" cy="40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Rectangle 62"/>
          <p:cNvSpPr/>
          <p:nvPr/>
        </p:nvSpPr>
        <p:spPr>
          <a:xfrm>
            <a:off x="2720690" y="5168281"/>
            <a:ext cx="732893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spc="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</a:t>
            </a:r>
            <a:r>
              <a:rPr lang="fr-FR" sz="12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PM</a:t>
            </a:r>
            <a:endParaRPr lang="fr-FR" sz="12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32" name="Rectangle à coins arrondis 31"/>
          <p:cNvSpPr/>
          <p:nvPr/>
        </p:nvSpPr>
        <p:spPr bwMode="auto">
          <a:xfrm>
            <a:off x="2792699" y="5388540"/>
            <a:ext cx="1656230" cy="41679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sz="1050" dirty="0" err="1" smtClean="0">
                <a:solidFill>
                  <a:schemeClr val="bg1"/>
                </a:solidFill>
              </a:rPr>
              <a:t>Confirm</a:t>
            </a:r>
            <a:r>
              <a:rPr lang="fr-FR" sz="1050" dirty="0" smtClean="0">
                <a:solidFill>
                  <a:schemeClr val="bg1"/>
                </a:solidFill>
              </a:rPr>
              <a:t> to the Business the GA </a:t>
            </a:r>
            <a:r>
              <a:rPr lang="fr-FR" sz="1050" dirty="0" err="1" smtClean="0">
                <a:solidFill>
                  <a:schemeClr val="bg1"/>
                </a:solidFill>
              </a:rPr>
              <a:t>project</a:t>
            </a:r>
            <a:r>
              <a:rPr lang="fr-FR" sz="1050" dirty="0" smtClean="0">
                <a:solidFill>
                  <a:schemeClr val="bg1"/>
                </a:solidFill>
              </a:rPr>
              <a:t> </a:t>
            </a:r>
            <a:r>
              <a:rPr lang="fr-FR" sz="1050" dirty="0" err="1" smtClean="0">
                <a:solidFill>
                  <a:schemeClr val="bg1"/>
                </a:solidFill>
              </a:rPr>
              <a:t>creation</a:t>
            </a:r>
            <a:endParaRPr kumimoji="0" lang="fr-FR" sz="105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71" name="Virage 70"/>
          <p:cNvSpPr/>
          <p:nvPr/>
        </p:nvSpPr>
        <p:spPr bwMode="auto">
          <a:xfrm rot="10800000">
            <a:off x="2504660" y="5805329"/>
            <a:ext cx="1066748" cy="216029"/>
          </a:xfrm>
          <a:prstGeom prst="bentArrow">
            <a:avLst>
              <a:gd name="adj1" fmla="val 18301"/>
              <a:gd name="adj2" fmla="val 25000"/>
              <a:gd name="adj3" fmla="val 27062"/>
              <a:gd name="adj4" fmla="val 43750"/>
            </a:avLst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136470" y="5517290"/>
            <a:ext cx="1244251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business</a:t>
            </a:r>
            <a:r>
              <a:rPr lang="fr-FR" sz="12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PM</a:t>
            </a:r>
            <a:endParaRPr lang="fr-FR" sz="12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73" name="Rectangle à coins arrondis 72"/>
          <p:cNvSpPr/>
          <p:nvPr/>
        </p:nvSpPr>
        <p:spPr bwMode="auto">
          <a:xfrm>
            <a:off x="1208480" y="5733320"/>
            <a:ext cx="1296180" cy="360050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sz="1050" dirty="0" err="1" smtClean="0">
                <a:solidFill>
                  <a:schemeClr val="bg1"/>
                </a:solidFill>
              </a:rPr>
              <a:t>Administer</a:t>
            </a:r>
            <a:r>
              <a:rPr lang="fr-FR" sz="1050" dirty="0" smtClean="0">
                <a:solidFill>
                  <a:schemeClr val="bg1"/>
                </a:solidFill>
              </a:rPr>
              <a:t>  the GA </a:t>
            </a:r>
            <a:r>
              <a:rPr lang="fr-FR" sz="1050" dirty="0" err="1" smtClean="0">
                <a:solidFill>
                  <a:schemeClr val="bg1"/>
                </a:solidFill>
              </a:rPr>
              <a:t>account</a:t>
            </a:r>
            <a:r>
              <a:rPr lang="fr-FR" sz="1050" dirty="0" smtClean="0">
                <a:solidFill>
                  <a:schemeClr val="bg1"/>
                </a:solidFill>
              </a:rPr>
              <a:t> </a:t>
            </a:r>
            <a:endParaRPr kumimoji="0" lang="fr-FR" sz="105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74" name="Rectangle à coins arrondis 73"/>
          <p:cNvSpPr/>
          <p:nvPr/>
        </p:nvSpPr>
        <p:spPr bwMode="auto">
          <a:xfrm>
            <a:off x="-15690" y="6093370"/>
            <a:ext cx="1234445" cy="361778"/>
          </a:xfrm>
          <a:prstGeom prst="roundRect">
            <a:avLst/>
          </a:prstGeom>
          <a:solidFill>
            <a:srgbClr val="92D050"/>
          </a:solidFill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sz="1050" dirty="0" smtClean="0">
                <a:solidFill>
                  <a:schemeClr val="bg1"/>
                </a:solidFill>
              </a:rPr>
              <a:t>END USERS’ </a:t>
            </a:r>
            <a:r>
              <a:rPr lang="fr-FR" sz="1050" dirty="0" err="1" smtClean="0">
                <a:solidFill>
                  <a:schemeClr val="bg1"/>
                </a:solidFill>
              </a:rPr>
              <a:t>requests</a:t>
            </a:r>
            <a:r>
              <a:rPr lang="fr-FR" sz="1050" dirty="0" smtClean="0">
                <a:solidFill>
                  <a:schemeClr val="bg1"/>
                </a:solidFill>
              </a:rPr>
              <a:t> </a:t>
            </a:r>
            <a:endParaRPr kumimoji="0" lang="fr-FR" sz="105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57" name="Flèche courbée vers le bas 56"/>
          <p:cNvSpPr/>
          <p:nvPr/>
        </p:nvSpPr>
        <p:spPr bwMode="auto">
          <a:xfrm rot="19104732">
            <a:off x="777891" y="5792530"/>
            <a:ext cx="447399" cy="174326"/>
          </a:xfrm>
          <a:prstGeom prst="curvedDownArrow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5" name="Flèche courbée vers la gauche 74"/>
          <p:cNvSpPr/>
          <p:nvPr/>
        </p:nvSpPr>
        <p:spPr bwMode="auto">
          <a:xfrm rot="2002783">
            <a:off x="1295871" y="6119308"/>
            <a:ext cx="208256" cy="380118"/>
          </a:xfrm>
          <a:prstGeom prst="curvedLeftArrow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solidFill>
                  <a:srgbClr val="00B050"/>
                </a:solidFill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7" name="Rectangle à coins arrondis 76"/>
          <p:cNvSpPr/>
          <p:nvPr/>
        </p:nvSpPr>
        <p:spPr bwMode="auto">
          <a:xfrm>
            <a:off x="2792700" y="4725180"/>
            <a:ext cx="1656230" cy="454239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sz="1050" dirty="0" err="1" smtClean="0">
                <a:solidFill>
                  <a:schemeClr val="bg1"/>
                </a:solidFill>
              </a:rPr>
              <a:t>Organize</a:t>
            </a:r>
            <a:r>
              <a:rPr lang="fr-FR" sz="1050" dirty="0" smtClean="0">
                <a:solidFill>
                  <a:schemeClr val="bg1"/>
                </a:solidFill>
              </a:rPr>
              <a:t> a new release of the application</a:t>
            </a:r>
            <a:endParaRPr kumimoji="0" lang="fr-FR" sz="105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80" name="Flèche droite 79"/>
          <p:cNvSpPr/>
          <p:nvPr/>
        </p:nvSpPr>
        <p:spPr bwMode="auto">
          <a:xfrm rot="5400000">
            <a:off x="3464009" y="5222536"/>
            <a:ext cx="214798" cy="117216"/>
          </a:xfrm>
          <a:prstGeom prst="rightArrow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2720690" y="4509150"/>
            <a:ext cx="732893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spc="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</a:t>
            </a:r>
            <a:r>
              <a:rPr lang="fr-FR" sz="12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PM</a:t>
            </a:r>
            <a:endParaRPr lang="fr-FR" sz="12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82" name="Flèche droite 81"/>
          <p:cNvSpPr/>
          <p:nvPr/>
        </p:nvSpPr>
        <p:spPr bwMode="auto">
          <a:xfrm rot="5400000">
            <a:off x="6008016" y="2555510"/>
            <a:ext cx="167481" cy="117215"/>
          </a:xfrm>
          <a:prstGeom prst="rightArrow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3" name="Flèche droite 82"/>
          <p:cNvSpPr/>
          <p:nvPr/>
        </p:nvSpPr>
        <p:spPr bwMode="auto">
          <a:xfrm rot="5400000">
            <a:off x="6008017" y="3070622"/>
            <a:ext cx="167481" cy="117215"/>
          </a:xfrm>
          <a:prstGeom prst="rightArrow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fr-FR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Rectangle à coins arrondis 22"/>
          <p:cNvSpPr/>
          <p:nvPr/>
        </p:nvSpPr>
        <p:spPr bwMode="auto">
          <a:xfrm>
            <a:off x="4584771" y="2697858"/>
            <a:ext cx="2952408" cy="371092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sz="1000" dirty="0" err="1" smtClean="0">
                <a:solidFill>
                  <a:schemeClr val="bg1"/>
                </a:solidFill>
              </a:rPr>
              <a:t>Add</a:t>
            </a:r>
            <a:r>
              <a:rPr lang="fr-FR" sz="1000" dirty="0" smtClean="0">
                <a:solidFill>
                  <a:schemeClr val="bg1"/>
                </a:solidFill>
              </a:rPr>
              <a:t> </a:t>
            </a:r>
            <a:r>
              <a:rPr kumimoji="0" lang="fr-FR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the </a:t>
            </a:r>
            <a:r>
              <a:rPr kumimoji="0" lang="fr-FR" sz="10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requested</a:t>
            </a:r>
            <a:r>
              <a:rPr kumimoji="0" lang="fr-FR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fr-FR" sz="10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project</a:t>
            </a:r>
            <a:r>
              <a:rPr kumimoji="0" lang="fr-FR" sz="1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team </a:t>
            </a:r>
            <a:r>
              <a:rPr lang="fr-FR" sz="1000" dirty="0" err="1" smtClean="0">
                <a:solidFill>
                  <a:schemeClr val="bg1"/>
                </a:solidFill>
              </a:rPr>
              <a:t>according</a:t>
            </a:r>
            <a:r>
              <a:rPr lang="fr-FR" sz="1000" dirty="0" smtClean="0">
                <a:solidFill>
                  <a:schemeClr val="bg1"/>
                </a:solidFill>
              </a:rPr>
              <a:t> to</a:t>
            </a:r>
            <a:r>
              <a:rPr kumimoji="0" lang="fr-FR" sz="1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the </a:t>
            </a:r>
            <a:r>
              <a:rPr kumimoji="0" lang="fr-FR" sz="10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requested</a:t>
            </a:r>
            <a:r>
              <a:rPr kumimoji="0" lang="fr-FR" sz="1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permissions in Google </a:t>
            </a:r>
            <a:r>
              <a:rPr kumimoji="0" lang="fr-FR" sz="10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Analytics</a:t>
            </a:r>
            <a:endParaRPr kumimoji="0" lang="fr-FR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7545360" y="3284980"/>
            <a:ext cx="1371914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JAVA DELIVERY</a:t>
            </a:r>
            <a:endParaRPr lang="fr-FR" sz="1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5930076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272351" y="836640"/>
            <a:ext cx="9361299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err="1" smtClean="0"/>
              <a:t>Configuring</a:t>
            </a:r>
            <a:r>
              <a:rPr lang="fr-FR" sz="1400" b="1" dirty="0" smtClean="0"/>
              <a:t> application </a:t>
            </a:r>
          </a:p>
          <a:p>
            <a:endParaRPr lang="fr-FR" sz="800" dirty="0" smtClean="0"/>
          </a:p>
          <a:p>
            <a:pPr algn="just"/>
            <a:endParaRPr lang="fr-FR" sz="1400" dirty="0"/>
          </a:p>
          <a:p>
            <a:pPr algn="just"/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/>
          </a:p>
          <a:p>
            <a:pPr algn="just"/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 smtClean="0"/>
          </a:p>
          <a:p>
            <a:endParaRPr lang="fr-FR" sz="1200" dirty="0"/>
          </a:p>
          <a:p>
            <a:r>
              <a:rPr lang="fr-FR" sz="1100" dirty="0" smtClean="0"/>
              <a:t>        </a:t>
            </a:r>
          </a:p>
        </p:txBody>
      </p:sp>
      <p:sp>
        <p:nvSpPr>
          <p:cNvPr id="9" name="Rectangle à coins arrondis 8"/>
          <p:cNvSpPr/>
          <p:nvPr/>
        </p:nvSpPr>
        <p:spPr bwMode="auto">
          <a:xfrm>
            <a:off x="2000590" y="332570"/>
            <a:ext cx="604884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Configuring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Google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in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project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ight Arrow 1"/>
          <p:cNvSpPr/>
          <p:nvPr/>
        </p:nvSpPr>
        <p:spPr bwMode="auto">
          <a:xfrm>
            <a:off x="560390" y="2348850"/>
            <a:ext cx="360050" cy="45719"/>
          </a:xfrm>
          <a:prstGeom prst="right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IN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" name="Straight Arrow Connector 3"/>
          <p:cNvCxnSpPr/>
          <p:nvPr/>
        </p:nvCxnSpPr>
        <p:spPr bwMode="auto">
          <a:xfrm flipV="1">
            <a:off x="3440790" y="2521716"/>
            <a:ext cx="2880400" cy="720100"/>
          </a:xfrm>
          <a:prstGeom prst="straightConnector1">
            <a:avLst/>
          </a:prstGeom>
          <a:noFill/>
          <a:ln>
            <a:noFill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Arrow Connector 5"/>
          <p:cNvCxnSpPr/>
          <p:nvPr/>
        </p:nvCxnSpPr>
        <p:spPr bwMode="auto">
          <a:xfrm flipH="1">
            <a:off x="5745110" y="1988800"/>
            <a:ext cx="1224170" cy="360050"/>
          </a:xfrm>
          <a:prstGeom prst="straightConnector1">
            <a:avLst/>
          </a:prstGeom>
          <a:noFill/>
          <a:ln>
            <a:noFill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02" y="3657306"/>
            <a:ext cx="368617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51" y="1140125"/>
            <a:ext cx="5934075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7260" y="2232843"/>
            <a:ext cx="5456390" cy="4325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378490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371910" y="2852920"/>
            <a:ext cx="4683270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28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The </a:t>
            </a:r>
            <a:r>
              <a:rPr lang="fr-FR" sz="2800" b="1" cap="all" spc="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request’s</a:t>
            </a:r>
            <a:r>
              <a:rPr lang="fr-FR" sz="28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fr-FR" sz="2800" b="1" cap="all" spc="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details</a:t>
            </a:r>
            <a:endParaRPr lang="fr-FR" sz="28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55862727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344360" y="980660"/>
            <a:ext cx="928929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400" dirty="0" smtClean="0"/>
              <a:t>Once the web/mobile application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developped</a:t>
            </a:r>
            <a:r>
              <a:rPr lang="fr-FR" sz="1400" dirty="0" smtClean="0"/>
              <a:t>/</a:t>
            </a:r>
            <a:r>
              <a:rPr lang="fr-FR" sz="1400" dirty="0" err="1" smtClean="0"/>
              <a:t>being</a:t>
            </a:r>
            <a:r>
              <a:rPr lang="fr-FR" sz="1400" dirty="0" smtClean="0"/>
              <a:t> </a:t>
            </a:r>
            <a:r>
              <a:rPr lang="fr-FR" sz="1400" dirty="0" err="1" smtClean="0"/>
              <a:t>developped</a:t>
            </a:r>
            <a:r>
              <a:rPr lang="fr-FR" sz="1400" dirty="0" smtClean="0"/>
              <a:t>, the Project </a:t>
            </a:r>
            <a:r>
              <a:rPr lang="fr-FR" sz="1400" dirty="0"/>
              <a:t>M</a:t>
            </a:r>
            <a:r>
              <a:rPr lang="fr-FR" sz="1400" dirty="0" smtClean="0"/>
              <a:t>anager </a:t>
            </a:r>
            <a:r>
              <a:rPr lang="fr-FR" sz="1400" dirty="0" err="1" smtClean="0"/>
              <a:t>may</a:t>
            </a:r>
            <a:r>
              <a:rPr lang="fr-FR" sz="1400" dirty="0" smtClean="0"/>
              <a:t>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 a Google </a:t>
            </a:r>
            <a:r>
              <a:rPr lang="fr-FR" sz="1400" dirty="0" err="1" smtClean="0"/>
              <a:t>Analytics</a:t>
            </a:r>
            <a:r>
              <a:rPr lang="fr-FR" sz="1400" dirty="0" smtClean="0"/>
              <a:t> </a:t>
            </a:r>
            <a:r>
              <a:rPr lang="fr-FR" sz="1400" dirty="0" err="1" smtClean="0"/>
              <a:t>account</a:t>
            </a:r>
            <a:r>
              <a:rPr lang="fr-FR" sz="1400" dirty="0"/>
              <a:t>.</a:t>
            </a:r>
            <a:endParaRPr lang="fr-FR" sz="1400" dirty="0" smtClean="0"/>
          </a:p>
          <a:p>
            <a:endParaRPr lang="fr-FR" sz="1400" dirty="0" smtClean="0"/>
          </a:p>
          <a:p>
            <a:endParaRPr lang="fr-FR" sz="1400" dirty="0" smtClean="0"/>
          </a:p>
          <a:p>
            <a:pPr lvl="1"/>
            <a:r>
              <a:rPr lang="fr-FR" sz="1400" dirty="0"/>
              <a:t>C</a:t>
            </a:r>
            <a:r>
              <a:rPr lang="fr-FR" sz="1400" dirty="0" smtClean="0"/>
              <a:t>ontact : </a:t>
            </a:r>
            <a:r>
              <a:rPr lang="fr-FR" sz="2400" b="1" u="sng" dirty="0" smtClean="0">
                <a:hlinkClick r:id="rId2"/>
              </a:rPr>
              <a:t>bv.ism.analytics@gmail.com</a:t>
            </a:r>
            <a:endParaRPr lang="fr-FR" sz="1400" u="sng" dirty="0" smtClean="0"/>
          </a:p>
          <a:p>
            <a:endParaRPr lang="fr-FR" sz="1400" dirty="0" smtClean="0"/>
          </a:p>
          <a:p>
            <a:endParaRPr lang="fr-FR" sz="1400" dirty="0"/>
          </a:p>
          <a:p>
            <a:r>
              <a:rPr lang="fr-FR" sz="1400" dirty="0" smtClean="0"/>
              <a:t>The ISM Project Manager must </a:t>
            </a:r>
            <a:r>
              <a:rPr lang="fr-FR" sz="1400" dirty="0" err="1" smtClean="0"/>
              <a:t>provide</a:t>
            </a:r>
            <a:r>
              <a:rPr lang="fr-FR" sz="1400" dirty="0" smtClean="0"/>
              <a:t> the </a:t>
            </a:r>
            <a:r>
              <a:rPr lang="fr-FR" sz="1400" dirty="0" err="1" smtClean="0"/>
              <a:t>following</a:t>
            </a:r>
            <a:r>
              <a:rPr lang="fr-FR" sz="1400" dirty="0" smtClean="0"/>
              <a:t> information :</a:t>
            </a:r>
          </a:p>
          <a:p>
            <a:endParaRPr lang="fr-FR" sz="1400" dirty="0"/>
          </a:p>
          <a:p>
            <a:endParaRPr lang="fr-FR" sz="1400" dirty="0" smtClean="0"/>
          </a:p>
          <a:p>
            <a:endParaRPr lang="fr-FR" sz="1400" dirty="0"/>
          </a:p>
          <a:p>
            <a:endParaRPr lang="fr-FR" sz="1400" dirty="0" smtClean="0"/>
          </a:p>
          <a:p>
            <a:endParaRPr lang="fr-FR" sz="1400" dirty="0"/>
          </a:p>
          <a:p>
            <a:endParaRPr lang="fr-FR" sz="1400" dirty="0" smtClean="0"/>
          </a:p>
          <a:p>
            <a:endParaRPr lang="fr-FR" sz="1400" dirty="0"/>
          </a:p>
          <a:p>
            <a:endParaRPr lang="fr-FR" sz="1400" dirty="0" smtClean="0"/>
          </a:p>
        </p:txBody>
      </p:sp>
      <p:graphicFrame>
        <p:nvGraphicFramePr>
          <p:cNvPr id="26" name="Tableau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6179721"/>
              </p:ext>
            </p:extLst>
          </p:nvPr>
        </p:nvGraphicFramePr>
        <p:xfrm>
          <a:off x="416370" y="2996940"/>
          <a:ext cx="9289290" cy="26363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44645"/>
                <a:gridCol w="4644645"/>
              </a:tblGrid>
              <a:tr h="316396">
                <a:tc>
                  <a:txBody>
                    <a:bodyPr/>
                    <a:lstStyle/>
                    <a:p>
                      <a:pPr algn="ctr"/>
                      <a:r>
                        <a:rPr lang="fr-FR" sz="1600" b="0" dirty="0" smtClean="0"/>
                        <a:t>Information</a:t>
                      </a:r>
                      <a:endParaRPr lang="fr-FR" sz="1600" b="0" dirty="0"/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0" dirty="0" err="1" smtClean="0"/>
                        <a:t>Example</a:t>
                      </a:r>
                      <a:endParaRPr lang="fr-FR" sz="1600" b="0" dirty="0"/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200" baseline="0" dirty="0" smtClean="0"/>
                        <a:t>Google </a:t>
                      </a:r>
                      <a:r>
                        <a:rPr lang="fr-FR" sz="1200" baseline="0" dirty="0" err="1" smtClean="0"/>
                        <a:t>Analytics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Account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name</a:t>
                      </a:r>
                      <a:r>
                        <a:rPr lang="fr-FR" sz="1200" baseline="0" dirty="0" smtClean="0"/>
                        <a:t>*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/>
                        <a:t>VeriSTAR</a:t>
                      </a:r>
                      <a:r>
                        <a:rPr lang="fr-FR" sz="1200" dirty="0" smtClean="0"/>
                        <a:t> Dangerous </a:t>
                      </a:r>
                      <a:r>
                        <a:rPr lang="fr-FR" sz="1200" dirty="0" err="1" smtClean="0"/>
                        <a:t>Goods</a:t>
                      </a:r>
                      <a:r>
                        <a:rPr lang="fr-FR" sz="1200" dirty="0" smtClean="0"/>
                        <a:t> &amp; </a:t>
                      </a:r>
                      <a:r>
                        <a:rPr lang="fr-FR" sz="1200" dirty="0" err="1" smtClean="0"/>
                        <a:t>Bulk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ISM Project</a:t>
                      </a:r>
                      <a:r>
                        <a:rPr lang="fr-FR" sz="1200" baseline="0" dirty="0" smtClean="0"/>
                        <a:t> Manager </a:t>
                      </a:r>
                      <a:r>
                        <a:rPr lang="fr-FR" sz="1200" baseline="0" dirty="0" err="1" smtClean="0"/>
                        <a:t>gmail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account</a:t>
                      </a:r>
                      <a:r>
                        <a:rPr lang="fr-FR" sz="1200" baseline="0" dirty="0" smtClean="0"/>
                        <a:t>*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hlinkClick r:id="rId3"/>
                        </a:rPr>
                        <a:t>dmin@gmail.com</a:t>
                      </a:r>
                      <a:r>
                        <a:rPr lang="fr-FR" sz="1200" dirty="0" smtClean="0"/>
                        <a:t> 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Business Project</a:t>
                      </a:r>
                      <a:r>
                        <a:rPr lang="fr-FR" sz="1200" baseline="0" dirty="0" smtClean="0"/>
                        <a:t> Manager </a:t>
                      </a:r>
                      <a:r>
                        <a:rPr lang="fr-FR" sz="1200" baseline="0" dirty="0" err="1" smtClean="0"/>
                        <a:t>gmail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account</a:t>
                      </a:r>
                      <a:r>
                        <a:rPr lang="fr-FR" sz="1200" baseline="0" dirty="0" smtClean="0"/>
                        <a:t>*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hlinkClick r:id="rId4"/>
                        </a:rPr>
                        <a:t>pleandri@gmail.com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Project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name</a:t>
                      </a:r>
                      <a:r>
                        <a:rPr lang="fr-FR" sz="1200" baseline="0" dirty="0" smtClean="0"/>
                        <a:t> *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VDGB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Project URL *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hlinkClick r:id="rId5"/>
                        </a:rPr>
                        <a:t>www.dgb.veristar.com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Key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m</a:t>
                      </a:r>
                      <a:r>
                        <a:rPr lang="fr-FR" sz="1200" dirty="0" err="1" smtClean="0"/>
                        <a:t>ember</a:t>
                      </a:r>
                      <a:r>
                        <a:rPr lang="fr-FR" sz="1200" baseline="0" dirty="0" smtClean="0"/>
                        <a:t> n°1 </a:t>
                      </a:r>
                      <a:r>
                        <a:rPr lang="fr-FR" sz="1200" baseline="0" dirty="0" err="1" smtClean="0"/>
                        <a:t>gmail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account</a:t>
                      </a:r>
                      <a:r>
                        <a:rPr lang="fr-FR" sz="1200" baseline="0" dirty="0" smtClean="0"/>
                        <a:t> + Associated permissions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hlinkClick r:id="rId6"/>
                        </a:rPr>
                        <a:t>member1@gmail.com</a:t>
                      </a:r>
                      <a:r>
                        <a:rPr lang="fr-FR" sz="1200" dirty="0" smtClean="0"/>
                        <a:t>  (Edit)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Key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m</a:t>
                      </a:r>
                      <a:r>
                        <a:rPr lang="fr-FR" sz="1200" dirty="0" err="1" smtClean="0"/>
                        <a:t>ember</a:t>
                      </a:r>
                      <a:r>
                        <a:rPr lang="fr-FR" sz="1200" baseline="0" dirty="0" smtClean="0"/>
                        <a:t> n°2 </a:t>
                      </a:r>
                      <a:r>
                        <a:rPr lang="fr-FR" sz="1200" baseline="0" dirty="0" err="1" smtClean="0"/>
                        <a:t>gmail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account</a:t>
                      </a:r>
                      <a:r>
                        <a:rPr lang="fr-FR" sz="1200" baseline="0" dirty="0" smtClean="0"/>
                        <a:t> + Associated permissions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hlinkClick r:id="rId7"/>
                        </a:rPr>
                        <a:t>member2@gmail.com</a:t>
                      </a:r>
                      <a:r>
                        <a:rPr lang="fr-FR" sz="1200" dirty="0" smtClean="0"/>
                        <a:t> (</a:t>
                      </a:r>
                      <a:r>
                        <a:rPr lang="fr-FR" sz="1200" dirty="0" err="1" smtClean="0"/>
                        <a:t>Collaborate</a:t>
                      </a:r>
                      <a:r>
                        <a:rPr lang="fr-FR" sz="1200" dirty="0" smtClean="0"/>
                        <a:t>)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Key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m</a:t>
                      </a:r>
                      <a:r>
                        <a:rPr lang="fr-FR" sz="1200" dirty="0" err="1" smtClean="0"/>
                        <a:t>ember</a:t>
                      </a:r>
                      <a:r>
                        <a:rPr lang="fr-FR" sz="1200" baseline="0" dirty="0" smtClean="0"/>
                        <a:t> n°3 </a:t>
                      </a:r>
                      <a:r>
                        <a:rPr lang="fr-FR" sz="1200" baseline="0" dirty="0" err="1" smtClean="0"/>
                        <a:t>gmail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account</a:t>
                      </a:r>
                      <a:r>
                        <a:rPr lang="fr-FR" sz="1200" baseline="0" dirty="0" smtClean="0"/>
                        <a:t> + Associated permissions</a:t>
                      </a:r>
                      <a:endParaRPr lang="fr-FR" sz="1200" dirty="0" smtClean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hlinkClick r:id="rId8"/>
                        </a:rPr>
                        <a:t>member3@gmail.com</a:t>
                      </a:r>
                      <a:r>
                        <a:rPr lang="fr-FR" sz="1200" dirty="0" smtClean="0"/>
                        <a:t> (Read</a:t>
                      </a:r>
                      <a:r>
                        <a:rPr lang="fr-FR" sz="1200" baseline="0" dirty="0" smtClean="0"/>
                        <a:t> &amp; </a:t>
                      </a:r>
                      <a:r>
                        <a:rPr lang="fr-FR" sz="1200" baseline="0" dirty="0" err="1" smtClean="0"/>
                        <a:t>Analyze</a:t>
                      </a:r>
                      <a:r>
                        <a:rPr lang="fr-FR" sz="1200" baseline="0" dirty="0" smtClean="0"/>
                        <a:t>)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ZoneTexte 8"/>
          <p:cNvSpPr txBox="1"/>
          <p:nvPr/>
        </p:nvSpPr>
        <p:spPr>
          <a:xfrm>
            <a:off x="416370" y="5733320"/>
            <a:ext cx="92892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100" dirty="0" smtClean="0"/>
              <a:t>*</a:t>
            </a:r>
            <a:r>
              <a:rPr lang="fr-FR" sz="1100" dirty="0" err="1" smtClean="0"/>
              <a:t>Mandatory</a:t>
            </a:r>
            <a:r>
              <a:rPr lang="fr-FR" sz="1100" dirty="0" smtClean="0"/>
              <a:t> data</a:t>
            </a:r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89274">
            <a:off x="2910932" y="250717"/>
            <a:ext cx="361507" cy="40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à coins arrondis 10"/>
          <p:cNvSpPr/>
          <p:nvPr/>
        </p:nvSpPr>
        <p:spPr bwMode="auto">
          <a:xfrm>
            <a:off x="3368780" y="332570"/>
            <a:ext cx="496869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Send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a Google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Project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creation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request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4550" y="282056"/>
            <a:ext cx="269016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</a:t>
            </a:r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fr-FR" sz="1600" b="1" cap="all" spc="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project</a:t>
            </a:r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manager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1280011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272351" y="890673"/>
            <a:ext cx="93612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400" dirty="0" smtClean="0"/>
              <a:t>If </a:t>
            </a:r>
            <a:r>
              <a:rPr lang="fr-FR" sz="1400" dirty="0" err="1" smtClean="0"/>
              <a:t>needed</a:t>
            </a:r>
            <a:r>
              <a:rPr lang="fr-FR" sz="1400" dirty="0" smtClean="0"/>
              <a:t>, the ISM Project Manager </a:t>
            </a:r>
            <a:r>
              <a:rPr lang="fr-FR" sz="1400" dirty="0" err="1" smtClean="0"/>
              <a:t>may</a:t>
            </a:r>
            <a:r>
              <a:rPr lang="fr-FR" sz="1400" dirty="0" smtClean="0"/>
              <a:t>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 the </a:t>
            </a:r>
            <a:r>
              <a:rPr lang="fr-FR" sz="1400" dirty="0" err="1" smtClean="0"/>
              <a:t>tracking</a:t>
            </a:r>
            <a:r>
              <a:rPr lang="fr-FR" sz="1400" dirty="0" smtClean="0"/>
              <a:t> of </a:t>
            </a:r>
            <a:r>
              <a:rPr lang="fr-FR" sz="1400" dirty="0" err="1" smtClean="0"/>
              <a:t>several</a:t>
            </a:r>
            <a:r>
              <a:rPr lang="fr-FR" sz="1400" dirty="0" smtClean="0"/>
              <a:t> </a:t>
            </a:r>
            <a:r>
              <a:rPr lang="fr-FR" sz="1400" dirty="0" err="1" smtClean="0"/>
              <a:t>environments</a:t>
            </a:r>
            <a:r>
              <a:rPr lang="fr-FR" sz="1400" dirty="0" smtClean="0"/>
              <a:t>. In </a:t>
            </a:r>
            <a:r>
              <a:rPr lang="fr-FR" sz="1400" dirty="0" err="1" smtClean="0"/>
              <a:t>this</a:t>
            </a:r>
            <a:r>
              <a:rPr lang="fr-FR" sz="1400" dirty="0" smtClean="0"/>
              <a:t> case, information must </a:t>
            </a:r>
            <a:r>
              <a:rPr lang="fr-FR" sz="1400" dirty="0" err="1" smtClean="0"/>
              <a:t>be</a:t>
            </a:r>
            <a:r>
              <a:rPr lang="fr-FR" sz="1400" dirty="0" smtClean="0"/>
              <a:t> </a:t>
            </a:r>
            <a:r>
              <a:rPr lang="fr-FR" sz="1400" dirty="0" err="1" smtClean="0"/>
              <a:t>provided</a:t>
            </a:r>
            <a:r>
              <a:rPr lang="fr-FR" sz="1400" dirty="0" smtClean="0"/>
              <a:t> for </a:t>
            </a:r>
            <a:r>
              <a:rPr lang="fr-FR" sz="1400" dirty="0" err="1" smtClean="0"/>
              <a:t>each</a:t>
            </a:r>
            <a:r>
              <a:rPr lang="fr-FR" sz="1400" dirty="0" smtClean="0"/>
              <a:t> and </a:t>
            </a:r>
            <a:r>
              <a:rPr lang="fr-FR" sz="1400" dirty="0" err="1" smtClean="0"/>
              <a:t>every</a:t>
            </a:r>
            <a:r>
              <a:rPr lang="fr-FR" sz="1400" dirty="0" smtClean="0"/>
              <a:t> </a:t>
            </a:r>
            <a:r>
              <a:rPr lang="fr-FR" sz="1400" dirty="0" err="1" smtClean="0"/>
              <a:t>environment</a:t>
            </a:r>
            <a:r>
              <a:rPr lang="fr-FR" sz="1400" dirty="0" smtClean="0"/>
              <a:t> of the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 :</a:t>
            </a:r>
          </a:p>
          <a:p>
            <a:endParaRPr lang="fr-FR" sz="1400" dirty="0"/>
          </a:p>
          <a:p>
            <a:endParaRPr lang="fr-FR" sz="1400" dirty="0"/>
          </a:p>
        </p:txBody>
      </p:sp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9468127"/>
              </p:ext>
            </p:extLst>
          </p:nvPr>
        </p:nvGraphicFramePr>
        <p:xfrm>
          <a:off x="200340" y="1412720"/>
          <a:ext cx="9577329" cy="4314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0800"/>
                <a:gridCol w="3816529"/>
              </a:tblGrid>
              <a:tr h="316396">
                <a:tc>
                  <a:txBody>
                    <a:bodyPr/>
                    <a:lstStyle/>
                    <a:p>
                      <a:pPr algn="ctr"/>
                      <a:r>
                        <a:rPr lang="fr-FR" sz="1600" b="0" dirty="0" smtClean="0"/>
                        <a:t>Information</a:t>
                      </a:r>
                      <a:endParaRPr lang="fr-FR" sz="1600" b="0" dirty="0"/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0" dirty="0" err="1" smtClean="0"/>
                        <a:t>Example</a:t>
                      </a:r>
                      <a:endParaRPr lang="fr-FR" sz="1600" b="0" dirty="0"/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400" baseline="0" dirty="0" smtClean="0"/>
                        <a:t>GA </a:t>
                      </a:r>
                      <a:r>
                        <a:rPr lang="fr-FR" sz="1400" baseline="0" dirty="0" err="1" smtClean="0"/>
                        <a:t>Account</a:t>
                      </a:r>
                      <a:r>
                        <a:rPr lang="fr-FR" sz="1400" baseline="0" dirty="0" smtClean="0"/>
                        <a:t> </a:t>
                      </a:r>
                      <a:r>
                        <a:rPr lang="fr-FR" sz="1400" baseline="0" dirty="0" err="1" smtClean="0"/>
                        <a:t>name</a:t>
                      </a:r>
                      <a:r>
                        <a:rPr lang="fr-FR" sz="1400" baseline="0" dirty="0" smtClean="0"/>
                        <a:t>*</a:t>
                      </a:r>
                      <a:endParaRPr lang="fr-FR" sz="14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err="1" smtClean="0"/>
                        <a:t>VeriSTAR</a:t>
                      </a:r>
                      <a:r>
                        <a:rPr lang="fr-FR" sz="1400" dirty="0" smtClean="0"/>
                        <a:t> Dangerous </a:t>
                      </a:r>
                      <a:r>
                        <a:rPr lang="fr-FR" sz="1400" dirty="0" err="1" smtClean="0"/>
                        <a:t>Goods</a:t>
                      </a:r>
                      <a:r>
                        <a:rPr lang="fr-FR" sz="1400" dirty="0" smtClean="0"/>
                        <a:t> &amp; </a:t>
                      </a:r>
                      <a:r>
                        <a:rPr lang="fr-FR" sz="1400" dirty="0" err="1" smtClean="0"/>
                        <a:t>Bulk</a:t>
                      </a:r>
                      <a:endParaRPr lang="fr-FR" sz="14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ISM Project</a:t>
                      </a:r>
                      <a:r>
                        <a:rPr lang="fr-FR" sz="1400" baseline="0" dirty="0" smtClean="0"/>
                        <a:t> Manager </a:t>
                      </a:r>
                      <a:r>
                        <a:rPr lang="fr-FR" sz="1400" baseline="0" dirty="0" err="1" smtClean="0"/>
                        <a:t>gmail</a:t>
                      </a:r>
                      <a:r>
                        <a:rPr lang="fr-FR" sz="1400" baseline="0" dirty="0" smtClean="0"/>
                        <a:t> </a:t>
                      </a:r>
                      <a:r>
                        <a:rPr lang="fr-FR" sz="1400" baseline="0" dirty="0" err="1" smtClean="0"/>
                        <a:t>account</a:t>
                      </a:r>
                      <a:r>
                        <a:rPr lang="fr-FR" sz="1400" baseline="0" dirty="0" smtClean="0"/>
                        <a:t>*</a:t>
                      </a:r>
                      <a:endParaRPr lang="fr-FR" sz="14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hlinkClick r:id="rId2"/>
                        </a:rPr>
                        <a:t>dmin@gmail.com</a:t>
                      </a:r>
                      <a:r>
                        <a:rPr lang="fr-FR" sz="1400" dirty="0" smtClean="0"/>
                        <a:t> </a:t>
                      </a:r>
                      <a:endParaRPr lang="fr-FR" sz="14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Business Project</a:t>
                      </a:r>
                      <a:r>
                        <a:rPr lang="fr-FR" sz="1400" baseline="0" dirty="0" smtClean="0"/>
                        <a:t> Manager </a:t>
                      </a:r>
                      <a:r>
                        <a:rPr lang="fr-FR" sz="1400" baseline="0" dirty="0" err="1" smtClean="0"/>
                        <a:t>gmail</a:t>
                      </a:r>
                      <a:r>
                        <a:rPr lang="fr-FR" sz="1400" baseline="0" dirty="0" smtClean="0"/>
                        <a:t> </a:t>
                      </a:r>
                      <a:r>
                        <a:rPr lang="fr-FR" sz="1400" baseline="0" dirty="0" err="1" smtClean="0"/>
                        <a:t>account</a:t>
                      </a:r>
                      <a:r>
                        <a:rPr lang="fr-FR" sz="1400" baseline="0" dirty="0" smtClean="0"/>
                        <a:t>*</a:t>
                      </a:r>
                      <a:endParaRPr lang="fr-FR" sz="14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hlinkClick r:id="rId3"/>
                        </a:rPr>
                        <a:t>pleandri@gmail.com</a:t>
                      </a:r>
                      <a:endParaRPr lang="fr-FR" sz="14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Project</a:t>
                      </a:r>
                      <a:r>
                        <a:rPr lang="fr-FR" sz="1400" baseline="0" dirty="0" smtClean="0"/>
                        <a:t> </a:t>
                      </a:r>
                      <a:r>
                        <a:rPr lang="fr-FR" sz="1400" baseline="0" dirty="0" err="1" smtClean="0"/>
                        <a:t>name</a:t>
                      </a:r>
                      <a:r>
                        <a:rPr lang="fr-FR" sz="1400" baseline="0" dirty="0" smtClean="0"/>
                        <a:t> 1*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VDGB INT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Project URL 1*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hlinkClick r:id="rId4"/>
                        </a:rPr>
                        <a:t>www.dgb-int.veristar.com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Project</a:t>
                      </a:r>
                      <a:r>
                        <a:rPr lang="fr-FR" sz="1400" baseline="0" dirty="0" smtClean="0"/>
                        <a:t> </a:t>
                      </a:r>
                      <a:r>
                        <a:rPr lang="fr-FR" sz="1400" baseline="0" dirty="0" err="1" smtClean="0"/>
                        <a:t>name</a:t>
                      </a:r>
                      <a:r>
                        <a:rPr lang="fr-FR" sz="1400" baseline="0" dirty="0" smtClean="0"/>
                        <a:t> 2*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VDGB UAT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Project URL 2*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hlinkClick r:id="rId4"/>
                        </a:rPr>
                        <a:t>www.dgb-uat.veristar.com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Project</a:t>
                      </a:r>
                      <a:r>
                        <a:rPr lang="fr-FR" sz="1400" baseline="0" dirty="0" smtClean="0"/>
                        <a:t> </a:t>
                      </a:r>
                      <a:r>
                        <a:rPr lang="fr-FR" sz="1400" baseline="0" dirty="0" err="1" smtClean="0"/>
                        <a:t>name</a:t>
                      </a:r>
                      <a:r>
                        <a:rPr lang="fr-FR" sz="1400" baseline="0" dirty="0" smtClean="0"/>
                        <a:t> 3*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VDGB PROD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Project URL 3*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hlinkClick r:id="rId4"/>
                        </a:rPr>
                        <a:t>www.dgb.veristar.com</a:t>
                      </a:r>
                      <a:endParaRPr lang="fr-FR" sz="14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dirty="0" smtClean="0"/>
                        <a:t>Project</a:t>
                      </a:r>
                      <a:r>
                        <a:rPr lang="fr-FR" sz="1400" b="1" baseline="0" dirty="0" smtClean="0"/>
                        <a:t> </a:t>
                      </a:r>
                      <a:r>
                        <a:rPr lang="fr-FR" sz="1400" b="1" baseline="0" dirty="0" err="1" smtClean="0"/>
                        <a:t>requested</a:t>
                      </a:r>
                      <a:r>
                        <a:rPr lang="fr-FR" sz="1400" b="1" baseline="0" dirty="0" smtClean="0"/>
                        <a:t> by the Business Project manager *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 smtClean="0"/>
                        <a:t>VDGB</a:t>
                      </a:r>
                      <a:r>
                        <a:rPr lang="fr-FR" sz="1400" b="1" baseline="0" dirty="0" smtClean="0"/>
                        <a:t> PROD</a:t>
                      </a:r>
                      <a:endParaRPr lang="fr-FR" sz="14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452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Key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m</a:t>
                      </a:r>
                      <a:r>
                        <a:rPr lang="fr-FR" sz="1200" dirty="0" err="1" smtClean="0"/>
                        <a:t>ember</a:t>
                      </a:r>
                      <a:r>
                        <a:rPr lang="fr-FR" sz="1200" baseline="0" dirty="0" smtClean="0"/>
                        <a:t> n°1 </a:t>
                      </a:r>
                      <a:r>
                        <a:rPr lang="fr-FR" sz="1200" baseline="0" dirty="0" err="1" smtClean="0"/>
                        <a:t>gmail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account</a:t>
                      </a:r>
                      <a:r>
                        <a:rPr lang="fr-FR" sz="1200" baseline="0" dirty="0" smtClean="0"/>
                        <a:t> + Associated permissions </a:t>
                      </a:r>
                      <a:r>
                        <a:rPr lang="fr-FR" sz="1000" baseline="0" dirty="0" smtClean="0"/>
                        <a:t>(per </a:t>
                      </a:r>
                      <a:r>
                        <a:rPr lang="fr-FR" sz="1000" baseline="0" dirty="0" err="1" smtClean="0"/>
                        <a:t>environment</a:t>
                      </a:r>
                      <a:r>
                        <a:rPr lang="fr-FR" sz="1000" baseline="0" dirty="0" smtClean="0"/>
                        <a:t> if </a:t>
                      </a:r>
                      <a:r>
                        <a:rPr lang="fr-FR" sz="1000" baseline="0" dirty="0" err="1" smtClean="0"/>
                        <a:t>it</a:t>
                      </a:r>
                      <a:r>
                        <a:rPr lang="fr-FR" sz="1000" baseline="0" dirty="0" smtClean="0"/>
                        <a:t> </a:t>
                      </a:r>
                      <a:r>
                        <a:rPr lang="fr-FR" sz="1000" baseline="0" dirty="0" err="1" smtClean="0"/>
                        <a:t>differs</a:t>
                      </a:r>
                      <a:r>
                        <a:rPr lang="fr-FR" sz="1000" baseline="0" dirty="0" smtClean="0"/>
                        <a:t>)</a:t>
                      </a:r>
                      <a:endParaRPr lang="fr-FR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hlinkClick r:id="rId5"/>
                        </a:rPr>
                        <a:t>member1@gmail.com</a:t>
                      </a:r>
                      <a:r>
                        <a:rPr lang="fr-FR" sz="1400" dirty="0" smtClean="0"/>
                        <a:t> </a:t>
                      </a:r>
                      <a:r>
                        <a:rPr lang="fr-FR" sz="1100" dirty="0" smtClean="0"/>
                        <a:t>(Edit)</a:t>
                      </a:r>
                      <a:endParaRPr lang="fr-FR" sz="14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215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Key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m</a:t>
                      </a:r>
                      <a:r>
                        <a:rPr lang="fr-FR" sz="1200" dirty="0" err="1" smtClean="0"/>
                        <a:t>ember</a:t>
                      </a:r>
                      <a:r>
                        <a:rPr lang="fr-FR" sz="1200" baseline="0" dirty="0" smtClean="0"/>
                        <a:t> n°2 </a:t>
                      </a:r>
                      <a:r>
                        <a:rPr lang="fr-FR" sz="1200" baseline="0" dirty="0" err="1" smtClean="0"/>
                        <a:t>gmail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account</a:t>
                      </a:r>
                      <a:r>
                        <a:rPr lang="fr-FR" sz="1200" baseline="0" dirty="0" smtClean="0"/>
                        <a:t> + Associated permissions </a:t>
                      </a:r>
                      <a:r>
                        <a:rPr lang="fr-FR" sz="1000" baseline="0" dirty="0" smtClean="0"/>
                        <a:t>(per </a:t>
                      </a:r>
                      <a:r>
                        <a:rPr lang="fr-FR" sz="1000" baseline="0" dirty="0" err="1" smtClean="0"/>
                        <a:t>environment</a:t>
                      </a:r>
                      <a:r>
                        <a:rPr lang="fr-FR" sz="1000" baseline="0" dirty="0" smtClean="0"/>
                        <a:t> if </a:t>
                      </a:r>
                      <a:r>
                        <a:rPr lang="fr-FR" sz="1000" baseline="0" dirty="0" err="1" smtClean="0"/>
                        <a:t>it</a:t>
                      </a:r>
                      <a:r>
                        <a:rPr lang="fr-FR" sz="1000" baseline="0" dirty="0" smtClean="0"/>
                        <a:t> </a:t>
                      </a:r>
                      <a:r>
                        <a:rPr lang="fr-FR" sz="1000" baseline="0" dirty="0" err="1" smtClean="0"/>
                        <a:t>differs</a:t>
                      </a:r>
                      <a:r>
                        <a:rPr lang="fr-FR" sz="1000" baseline="0" dirty="0" smtClean="0"/>
                        <a:t>)</a:t>
                      </a:r>
                      <a:endParaRPr lang="fr-FR" sz="1200" dirty="0" smtClean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hlinkClick r:id="rId6"/>
                        </a:rPr>
                        <a:t>member2@gmail.com</a:t>
                      </a:r>
                      <a:r>
                        <a:rPr lang="fr-FR" sz="1400" dirty="0" smtClean="0"/>
                        <a:t> </a:t>
                      </a:r>
                      <a:r>
                        <a:rPr lang="fr-FR" sz="1050" dirty="0" smtClean="0"/>
                        <a:t>(</a:t>
                      </a:r>
                      <a:r>
                        <a:rPr lang="fr-FR" sz="1050" dirty="0" err="1" smtClean="0"/>
                        <a:t>Collaborate</a:t>
                      </a:r>
                      <a:r>
                        <a:rPr lang="fr-FR" sz="1050" dirty="0" smtClean="0"/>
                        <a:t>/INT, Edit/UAT)</a:t>
                      </a:r>
                      <a:endParaRPr lang="fr-FR" sz="16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76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 smtClean="0"/>
                        <a:t>Key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m</a:t>
                      </a:r>
                      <a:r>
                        <a:rPr lang="fr-FR" sz="1200" dirty="0" err="1" smtClean="0"/>
                        <a:t>ember</a:t>
                      </a:r>
                      <a:r>
                        <a:rPr lang="fr-FR" sz="1200" baseline="0" dirty="0" smtClean="0"/>
                        <a:t> n°3 </a:t>
                      </a:r>
                      <a:r>
                        <a:rPr lang="fr-FR" sz="1200" baseline="0" dirty="0" err="1" smtClean="0"/>
                        <a:t>gmail</a:t>
                      </a:r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account</a:t>
                      </a:r>
                      <a:r>
                        <a:rPr lang="fr-FR" sz="1200" baseline="0" dirty="0" smtClean="0"/>
                        <a:t> + Associated permissions </a:t>
                      </a:r>
                      <a:r>
                        <a:rPr lang="fr-FR" sz="1000" baseline="0" dirty="0" smtClean="0"/>
                        <a:t>(per </a:t>
                      </a:r>
                      <a:r>
                        <a:rPr lang="fr-FR" sz="1000" baseline="0" dirty="0" err="1" smtClean="0"/>
                        <a:t>environment</a:t>
                      </a:r>
                      <a:r>
                        <a:rPr lang="fr-FR" sz="1000" baseline="0" dirty="0" smtClean="0"/>
                        <a:t> if </a:t>
                      </a:r>
                      <a:r>
                        <a:rPr lang="fr-FR" sz="1000" baseline="0" dirty="0" err="1" smtClean="0"/>
                        <a:t>it</a:t>
                      </a:r>
                      <a:r>
                        <a:rPr lang="fr-FR" sz="1000" baseline="0" dirty="0" smtClean="0"/>
                        <a:t> </a:t>
                      </a:r>
                      <a:r>
                        <a:rPr lang="fr-FR" sz="1000" baseline="0" dirty="0" err="1" smtClean="0"/>
                        <a:t>differs</a:t>
                      </a:r>
                      <a:r>
                        <a:rPr lang="fr-FR" sz="1000" baseline="0" dirty="0" smtClean="0"/>
                        <a:t>)</a:t>
                      </a:r>
                      <a:endParaRPr lang="fr-FR" sz="1000" dirty="0" smtClean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 smtClean="0">
                          <a:hlinkClick r:id="rId7"/>
                        </a:rPr>
                        <a:t>member3@gmail.com</a:t>
                      </a:r>
                      <a:r>
                        <a:rPr lang="fr-FR" sz="1400" dirty="0" smtClean="0"/>
                        <a:t> </a:t>
                      </a:r>
                      <a:r>
                        <a:rPr lang="fr-FR" sz="1100" dirty="0" smtClean="0"/>
                        <a:t>(Read</a:t>
                      </a:r>
                      <a:r>
                        <a:rPr lang="fr-FR" sz="1100" baseline="0" dirty="0" smtClean="0"/>
                        <a:t> &amp; </a:t>
                      </a:r>
                      <a:r>
                        <a:rPr lang="fr-FR" sz="1100" baseline="0" dirty="0" err="1" smtClean="0"/>
                        <a:t>Analyze</a:t>
                      </a:r>
                      <a:r>
                        <a:rPr lang="fr-FR" sz="1100" baseline="0" dirty="0" smtClean="0"/>
                        <a:t>/PROD)</a:t>
                      </a:r>
                      <a:endParaRPr lang="fr-FR" sz="14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ZoneTexte 9"/>
          <p:cNvSpPr txBox="1"/>
          <p:nvPr/>
        </p:nvSpPr>
        <p:spPr>
          <a:xfrm>
            <a:off x="200340" y="5661310"/>
            <a:ext cx="957732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100" dirty="0" smtClean="0"/>
              <a:t>*</a:t>
            </a:r>
            <a:r>
              <a:rPr lang="fr-FR" sz="1100" dirty="0" err="1" smtClean="0"/>
              <a:t>Mandatory</a:t>
            </a:r>
            <a:r>
              <a:rPr lang="fr-FR" sz="1100" dirty="0" smtClean="0"/>
              <a:t> data</a:t>
            </a:r>
          </a:p>
          <a:p>
            <a:endParaRPr lang="fr-FR" sz="1100" b="1" u="sng" dirty="0" smtClean="0"/>
          </a:p>
          <a:p>
            <a:pPr algn="just"/>
            <a:r>
              <a:rPr lang="fr-FR" sz="1100" dirty="0"/>
              <a:t> </a:t>
            </a:r>
            <a:r>
              <a:rPr lang="fr-FR" sz="1100" dirty="0" smtClean="0"/>
              <a:t>          </a:t>
            </a:r>
            <a:r>
              <a:rPr lang="fr-FR" sz="1200" dirty="0" smtClean="0"/>
              <a:t>For a </a:t>
            </a:r>
            <a:r>
              <a:rPr lang="fr-FR" sz="1200" dirty="0" err="1" smtClean="0"/>
              <a:t>given</a:t>
            </a:r>
            <a:r>
              <a:rPr lang="fr-FR" sz="1200" dirty="0" smtClean="0"/>
              <a:t> </a:t>
            </a:r>
            <a:r>
              <a:rPr lang="fr-FR" sz="1200" dirty="0" err="1" smtClean="0"/>
              <a:t>member</a:t>
            </a:r>
            <a:r>
              <a:rPr lang="fr-FR" sz="1200" dirty="0" smtClean="0"/>
              <a:t>, the permissions must </a:t>
            </a:r>
            <a:r>
              <a:rPr lang="fr-FR" sz="1200" dirty="0" err="1" smtClean="0"/>
              <a:t>be</a:t>
            </a:r>
            <a:r>
              <a:rPr lang="fr-FR" sz="1200" dirty="0" smtClean="0"/>
              <a:t> </a:t>
            </a:r>
            <a:r>
              <a:rPr lang="fr-FR" sz="1200" dirty="0" err="1" smtClean="0"/>
              <a:t>defined</a:t>
            </a:r>
            <a:r>
              <a:rPr lang="fr-FR" sz="1200" dirty="0" smtClean="0"/>
              <a:t> for </a:t>
            </a:r>
            <a:r>
              <a:rPr lang="fr-FR" sz="1200" dirty="0" err="1"/>
              <a:t>each</a:t>
            </a:r>
            <a:r>
              <a:rPr lang="fr-FR" sz="1200" dirty="0"/>
              <a:t> </a:t>
            </a:r>
            <a:r>
              <a:rPr lang="fr-FR" sz="1200" dirty="0" err="1" smtClean="0"/>
              <a:t>environment</a:t>
            </a:r>
            <a:r>
              <a:rPr lang="fr-FR" sz="1200" dirty="0" smtClean="0"/>
              <a:t>. </a:t>
            </a:r>
            <a:r>
              <a:rPr lang="fr-FR" sz="1200" dirty="0" err="1" smtClean="0"/>
              <a:t>Otherwise</a:t>
            </a:r>
            <a:r>
              <a:rPr lang="fr-FR" sz="1200" dirty="0" smtClean="0"/>
              <a:t>, the </a:t>
            </a:r>
            <a:r>
              <a:rPr lang="fr-FR" sz="1200" dirty="0" err="1" smtClean="0"/>
              <a:t>member’s</a:t>
            </a:r>
            <a:r>
              <a:rPr lang="fr-FR" sz="1200" dirty="0" smtClean="0"/>
              <a:t> permissions </a:t>
            </a:r>
            <a:r>
              <a:rPr lang="fr-FR" sz="1200" dirty="0" err="1" smtClean="0"/>
              <a:t>will</a:t>
            </a:r>
            <a:r>
              <a:rPr lang="fr-FR" sz="1200" dirty="0" smtClean="0"/>
              <a:t> </a:t>
            </a:r>
            <a:r>
              <a:rPr lang="fr-FR" sz="1200" dirty="0" err="1" smtClean="0"/>
              <a:t>be</a:t>
            </a:r>
            <a:r>
              <a:rPr lang="fr-FR" sz="1200" dirty="0" smtClean="0"/>
              <a:t> set for the </a:t>
            </a:r>
            <a:r>
              <a:rPr lang="fr-FR" sz="1200" dirty="0" err="1" smtClean="0"/>
              <a:t>project</a:t>
            </a:r>
            <a:r>
              <a:rPr lang="fr-FR" sz="1200" dirty="0" smtClean="0"/>
              <a:t> </a:t>
            </a:r>
            <a:r>
              <a:rPr lang="fr-FR" sz="1200" dirty="0" err="1" smtClean="0"/>
              <a:t>requested</a:t>
            </a:r>
            <a:r>
              <a:rPr lang="fr-FR" sz="1200" dirty="0" smtClean="0"/>
              <a:t> by the Business </a:t>
            </a:r>
            <a:r>
              <a:rPr lang="fr-FR" sz="1200" dirty="0"/>
              <a:t>P</a:t>
            </a:r>
            <a:r>
              <a:rPr lang="fr-FR" sz="1200" dirty="0" smtClean="0"/>
              <a:t>roject Manager </a:t>
            </a:r>
            <a:r>
              <a:rPr lang="fr-FR" sz="1200" u="sng" dirty="0" err="1" smtClean="0"/>
              <a:t>only</a:t>
            </a:r>
            <a:r>
              <a:rPr lang="fr-FR" sz="1200" dirty="0" smtClean="0"/>
              <a:t>.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89274">
            <a:off x="2910932" y="250717"/>
            <a:ext cx="361507" cy="40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à coins arrondis 11"/>
          <p:cNvSpPr/>
          <p:nvPr/>
        </p:nvSpPr>
        <p:spPr bwMode="auto">
          <a:xfrm>
            <a:off x="3368780" y="332570"/>
            <a:ext cx="496869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Send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a Google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Project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creation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request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74550" y="282056"/>
            <a:ext cx="269016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</a:t>
            </a:r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fr-FR" sz="1600" b="1" cap="all" spc="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project</a:t>
            </a:r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manager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50" y="5890433"/>
            <a:ext cx="360050" cy="346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106386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146752" y="2852920"/>
            <a:ext cx="735021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28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How to HANDLE GOOGLE ANALYTICS ?</a:t>
            </a:r>
            <a:endParaRPr lang="fr-FR" sz="28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915553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à coins arrondis 35"/>
          <p:cNvSpPr/>
          <p:nvPr/>
        </p:nvSpPr>
        <p:spPr bwMode="auto">
          <a:xfrm>
            <a:off x="1009739" y="980660"/>
            <a:ext cx="7687781" cy="468065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sz="2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ccount</a:t>
            </a:r>
            <a:r>
              <a:rPr kumimoji="0" lang="fr-F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(top-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most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level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 of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organization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)</a:t>
            </a:r>
          </a:p>
          <a:p>
            <a:pPr marL="0" marR="0" indent="0" algn="ctr" defTabSz="914400" rtl="0" eaLnBrk="1" fontAlgn="base" latinLnBrk="0" hangingPunct="1">
              <a:spcBef>
                <a:spcPts val="600"/>
              </a:spcBef>
              <a:spcAft>
                <a:spcPct val="0"/>
              </a:spcAft>
              <a:buClrTx/>
              <a:buSzTx/>
              <a:tabLst/>
            </a:pPr>
            <a:r>
              <a:rPr lang="fr-FR" dirty="0" err="1" smtClean="0"/>
              <a:t>Users</a:t>
            </a: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7" name="Rectangle à coins arrondis 36"/>
          <p:cNvSpPr/>
          <p:nvPr/>
        </p:nvSpPr>
        <p:spPr bwMode="auto">
          <a:xfrm>
            <a:off x="5313050" y="2085530"/>
            <a:ext cx="3095476" cy="314372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sz="2000" dirty="0" err="1"/>
              <a:t>Property</a:t>
            </a:r>
            <a:endParaRPr lang="fr-FR" sz="2000" dirty="0"/>
          </a:p>
        </p:txBody>
      </p:sp>
      <p:sp>
        <p:nvSpPr>
          <p:cNvPr id="39" name="Rectangle à coins arrondis 38"/>
          <p:cNvSpPr/>
          <p:nvPr/>
        </p:nvSpPr>
        <p:spPr bwMode="auto">
          <a:xfrm>
            <a:off x="1496520" y="2085530"/>
            <a:ext cx="3095476" cy="314372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sz="2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operty</a:t>
            </a:r>
            <a:endParaRPr kumimoji="0" lang="fr-FR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sz="1400" dirty="0" smtClean="0">
                <a:solidFill>
                  <a:schemeClr val="accent6">
                    <a:lumMod val="75000"/>
                  </a:schemeClr>
                </a:solidFill>
              </a:rPr>
              <a:t>(A </a:t>
            </a:r>
            <a:r>
              <a:rPr lang="fr-FR" sz="1400" dirty="0" err="1" smtClean="0">
                <a:solidFill>
                  <a:schemeClr val="accent6">
                    <a:lumMod val="75000"/>
                  </a:schemeClr>
                </a:solidFill>
              </a:rPr>
              <a:t>website</a:t>
            </a:r>
            <a:r>
              <a:rPr lang="fr-FR" sz="1400" dirty="0" smtClean="0">
                <a:solidFill>
                  <a:schemeClr val="accent6">
                    <a:lumMod val="75000"/>
                  </a:schemeClr>
                </a:solidFill>
              </a:rPr>
              <a:t>, mobile application or </a:t>
            </a:r>
            <a:r>
              <a:rPr lang="fr-FR" sz="1400" dirty="0" err="1" smtClean="0">
                <a:solidFill>
                  <a:schemeClr val="accent6">
                    <a:lumMod val="75000"/>
                  </a:schemeClr>
                </a:solidFill>
              </a:rPr>
              <a:t>device</a:t>
            </a:r>
            <a:r>
              <a:rPr lang="fr-FR" sz="1400" dirty="0" smtClean="0">
                <a:solidFill>
                  <a:schemeClr val="accent6">
                    <a:lumMod val="75000"/>
                  </a:schemeClr>
                </a:solidFill>
              </a:rPr>
              <a:t>)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</a:endParaRPr>
          </a:p>
        </p:txBody>
      </p:sp>
      <p:sp>
        <p:nvSpPr>
          <p:cNvPr id="40" name="Rectangle à coins arrondis 39"/>
          <p:cNvSpPr/>
          <p:nvPr/>
        </p:nvSpPr>
        <p:spPr bwMode="auto">
          <a:xfrm>
            <a:off x="2216619" y="3389233"/>
            <a:ext cx="1719709" cy="1047907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sz="16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View</a:t>
            </a:r>
            <a:endParaRPr kumimoji="0" lang="fr-FR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tabLst/>
            </a:pPr>
            <a:r>
              <a:rPr lang="fr-FR" sz="1050" dirty="0" smtClean="0">
                <a:solidFill>
                  <a:schemeClr val="bg1"/>
                </a:solidFill>
              </a:rPr>
              <a:t>(Access point for reports)</a:t>
            </a:r>
            <a:endParaRPr kumimoji="0" lang="fr-FR" sz="105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41" name="Rectangle à coins arrondis 40"/>
          <p:cNvSpPr/>
          <p:nvPr/>
        </p:nvSpPr>
        <p:spPr bwMode="auto">
          <a:xfrm>
            <a:off x="6105159" y="3389233"/>
            <a:ext cx="1719709" cy="1047907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sz="1600" dirty="0" err="1">
                <a:solidFill>
                  <a:schemeClr val="bg1"/>
                </a:solidFill>
              </a:rPr>
              <a:t>View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42" name="ZoneTexte 41"/>
          <p:cNvSpPr txBox="1"/>
          <p:nvPr/>
        </p:nvSpPr>
        <p:spPr>
          <a:xfrm>
            <a:off x="628594" y="5805330"/>
            <a:ext cx="700518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 smtClean="0"/>
              <a:t>For </a:t>
            </a:r>
            <a:r>
              <a:rPr lang="fr-FR" sz="1400" dirty="0" err="1" smtClean="0"/>
              <a:t>each</a:t>
            </a:r>
            <a:r>
              <a:rPr lang="fr-FR" sz="1400" dirty="0" smtClean="0"/>
              <a:t> </a:t>
            </a:r>
            <a:r>
              <a:rPr lang="fr-FR" sz="1400" dirty="0" err="1" smtClean="0"/>
              <a:t>level</a:t>
            </a:r>
            <a:r>
              <a:rPr lang="fr-FR" sz="1400" dirty="0" smtClean="0"/>
              <a:t>, the </a:t>
            </a:r>
            <a:r>
              <a:rPr lang="fr-FR" sz="1400" dirty="0" err="1" smtClean="0"/>
              <a:t>users</a:t>
            </a:r>
            <a:r>
              <a:rPr lang="fr-FR" sz="1400" dirty="0" smtClean="0"/>
              <a:t> and </a:t>
            </a:r>
            <a:r>
              <a:rPr lang="fr-FR" sz="1400" dirty="0" err="1" smtClean="0"/>
              <a:t>their</a:t>
            </a:r>
            <a:r>
              <a:rPr lang="fr-FR" sz="1400" dirty="0" smtClean="0"/>
              <a:t> permissions </a:t>
            </a:r>
            <a:r>
              <a:rPr lang="fr-FR" sz="1400" dirty="0" err="1" smtClean="0"/>
              <a:t>may</a:t>
            </a:r>
            <a:r>
              <a:rPr lang="fr-FR" sz="1400" dirty="0" smtClean="0"/>
              <a:t> </a:t>
            </a:r>
            <a:r>
              <a:rPr lang="fr-FR" sz="1400" dirty="0" err="1" smtClean="0"/>
              <a:t>be</a:t>
            </a:r>
            <a:r>
              <a:rPr lang="fr-FR" sz="1400" dirty="0" smtClean="0"/>
              <a:t> </a:t>
            </a:r>
            <a:r>
              <a:rPr lang="fr-FR" sz="1400" dirty="0" err="1" smtClean="0"/>
              <a:t>managed</a:t>
            </a:r>
            <a:r>
              <a:rPr lang="fr-FR" sz="1400" dirty="0" smtClean="0"/>
              <a:t> </a:t>
            </a:r>
            <a:r>
              <a:rPr lang="fr-FR" sz="1400" dirty="0" err="1" smtClean="0"/>
              <a:t>seperately</a:t>
            </a:r>
            <a:r>
              <a:rPr lang="fr-FR" sz="1400" dirty="0" smtClean="0"/>
              <a:t>, </a:t>
            </a:r>
            <a:r>
              <a:rPr lang="fr-FR" sz="1400" dirty="0" err="1" smtClean="0"/>
              <a:t>however</a:t>
            </a:r>
            <a:r>
              <a:rPr lang="fr-FR" sz="1400" dirty="0" smtClean="0"/>
              <a:t> :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400" dirty="0" smtClean="0"/>
              <a:t>A </a:t>
            </a:r>
            <a:r>
              <a:rPr lang="fr-FR" sz="1400" dirty="0" err="1" smtClean="0"/>
              <a:t>rule</a:t>
            </a:r>
            <a:r>
              <a:rPr lang="fr-FR" sz="1400" dirty="0" smtClean="0"/>
              <a:t>, </a:t>
            </a:r>
            <a:r>
              <a:rPr lang="fr-FR" sz="1400" dirty="0" err="1" smtClean="0"/>
              <a:t>applied</a:t>
            </a:r>
            <a:r>
              <a:rPr lang="fr-FR" sz="1400" dirty="0" smtClean="0"/>
              <a:t> in a </a:t>
            </a:r>
            <a:r>
              <a:rPr lang="fr-FR" sz="1400" dirty="0" err="1" smtClean="0"/>
              <a:t>given</a:t>
            </a:r>
            <a:r>
              <a:rPr lang="fr-FR" sz="1400" dirty="0" smtClean="0"/>
              <a:t> </a:t>
            </a:r>
            <a:r>
              <a:rPr lang="fr-FR" sz="1400" dirty="0" err="1" smtClean="0"/>
              <a:t>level</a:t>
            </a:r>
            <a:r>
              <a:rPr lang="fr-FR" sz="1400" dirty="0" smtClean="0"/>
              <a:t>, </a:t>
            </a:r>
            <a:r>
              <a:rPr lang="fr-FR" sz="1400" dirty="0" err="1" smtClean="0"/>
              <a:t>applies</a:t>
            </a:r>
            <a:r>
              <a:rPr lang="fr-FR" sz="1400" dirty="0" smtClean="0"/>
              <a:t> in all the </a:t>
            </a:r>
            <a:r>
              <a:rPr lang="fr-FR" sz="1400" dirty="0" err="1" smtClean="0"/>
              <a:t>lower</a:t>
            </a:r>
            <a:r>
              <a:rPr lang="fr-FR" sz="1400" dirty="0" smtClean="0"/>
              <a:t> </a:t>
            </a:r>
            <a:r>
              <a:rPr lang="fr-FR" sz="1400" dirty="0" err="1" smtClean="0"/>
              <a:t>levels</a:t>
            </a:r>
            <a:endParaRPr lang="fr-FR" sz="1400" dirty="0" smtClean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400" dirty="0" smtClean="0"/>
              <a:t>A </a:t>
            </a:r>
            <a:r>
              <a:rPr lang="fr-FR" sz="1400" dirty="0" err="1" smtClean="0"/>
              <a:t>rule</a:t>
            </a:r>
            <a:r>
              <a:rPr lang="fr-FR" sz="1400" dirty="0" smtClean="0"/>
              <a:t>, </a:t>
            </a:r>
            <a:r>
              <a:rPr lang="fr-FR" sz="1400" dirty="0" err="1" smtClean="0"/>
              <a:t>applied</a:t>
            </a:r>
            <a:r>
              <a:rPr lang="fr-FR" sz="1400" dirty="0" smtClean="0"/>
              <a:t> in a </a:t>
            </a:r>
            <a:r>
              <a:rPr lang="fr-FR" sz="1400" dirty="0" err="1" smtClean="0"/>
              <a:t>given</a:t>
            </a:r>
            <a:r>
              <a:rPr lang="fr-FR" sz="1400" dirty="0" smtClean="0"/>
              <a:t> </a:t>
            </a:r>
            <a:r>
              <a:rPr lang="fr-FR" sz="1400" dirty="0" err="1" smtClean="0"/>
              <a:t>level</a:t>
            </a:r>
            <a:r>
              <a:rPr lang="fr-FR" sz="1400" dirty="0" smtClean="0"/>
              <a:t>, </a:t>
            </a:r>
            <a:r>
              <a:rPr lang="fr-FR" sz="1400" dirty="0" err="1" smtClean="0"/>
              <a:t>is</a:t>
            </a:r>
            <a:r>
              <a:rPr lang="fr-FR" sz="1400" dirty="0" smtClean="0"/>
              <a:t> not </a:t>
            </a:r>
            <a:r>
              <a:rPr lang="fr-FR" sz="1400" dirty="0" err="1" smtClean="0"/>
              <a:t>automatically</a:t>
            </a:r>
            <a:r>
              <a:rPr lang="fr-FR" sz="1400" dirty="0" smtClean="0"/>
              <a:t> </a:t>
            </a:r>
            <a:r>
              <a:rPr lang="fr-FR" sz="1400" dirty="0" err="1" smtClean="0"/>
              <a:t>applied</a:t>
            </a:r>
            <a:r>
              <a:rPr lang="fr-FR" sz="1400" dirty="0" smtClean="0"/>
              <a:t> in the </a:t>
            </a:r>
            <a:r>
              <a:rPr lang="fr-FR" sz="1400" dirty="0" err="1" smtClean="0"/>
              <a:t>upper</a:t>
            </a:r>
            <a:r>
              <a:rPr lang="fr-FR" sz="1400" dirty="0" smtClean="0"/>
              <a:t> </a:t>
            </a:r>
            <a:r>
              <a:rPr lang="fr-FR" sz="1400" dirty="0" err="1" smtClean="0"/>
              <a:t>levels</a:t>
            </a:r>
            <a:endParaRPr lang="fr-FR" sz="1400" dirty="0"/>
          </a:p>
        </p:txBody>
      </p:sp>
      <p:sp>
        <p:nvSpPr>
          <p:cNvPr id="14" name="Rectangle à coins arrondis 13"/>
          <p:cNvSpPr/>
          <p:nvPr/>
        </p:nvSpPr>
        <p:spPr bwMode="auto">
          <a:xfrm>
            <a:off x="1784438" y="332570"/>
            <a:ext cx="352849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Google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’ </a:t>
            </a:r>
            <a:r>
              <a:rPr lang="fr-FR" b="1" kern="0" dirty="0" err="1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general</a:t>
            </a:r>
            <a:r>
              <a:rPr lang="fr-FR" b="1" kern="0" dirty="0" smtClean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structure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05730" y="282056"/>
            <a:ext cx="675185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NFO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028310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0473284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272351" y="764630"/>
            <a:ext cx="9361299" cy="6278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/>
              <a:t>1. Go to : google.com/</a:t>
            </a:r>
            <a:r>
              <a:rPr lang="fr-FR" sz="1400" dirty="0" err="1" smtClean="0"/>
              <a:t>analytics</a:t>
            </a:r>
            <a:endParaRPr lang="fr-FR" sz="1400" dirty="0" smtClean="0"/>
          </a:p>
          <a:p>
            <a:pPr marL="0" lvl="1"/>
            <a:r>
              <a:rPr lang="fr-FR" sz="1400" dirty="0" smtClean="0"/>
              <a:t>2. Log in </a:t>
            </a:r>
            <a:r>
              <a:rPr lang="fr-FR" sz="1400" dirty="0" err="1" smtClean="0"/>
              <a:t>with</a:t>
            </a:r>
            <a:r>
              <a:rPr lang="fr-FR" sz="1400" dirty="0" smtClean="0"/>
              <a:t> the BV </a:t>
            </a:r>
            <a:r>
              <a:rPr lang="fr-FR" sz="1400" dirty="0" err="1" smtClean="0"/>
              <a:t>Analytics</a:t>
            </a:r>
            <a:r>
              <a:rPr lang="fr-FR" sz="1400" dirty="0" smtClean="0"/>
              <a:t> </a:t>
            </a:r>
            <a:r>
              <a:rPr lang="fr-FR" sz="1400" dirty="0" err="1" smtClean="0"/>
              <a:t>gmail</a:t>
            </a:r>
            <a:r>
              <a:rPr lang="fr-FR" sz="1400" dirty="0" smtClean="0"/>
              <a:t> </a:t>
            </a:r>
            <a:r>
              <a:rPr lang="fr-FR" sz="1400" dirty="0" err="1" smtClean="0"/>
              <a:t>account</a:t>
            </a:r>
            <a:r>
              <a:rPr lang="fr-FR" sz="1400" dirty="0" smtClean="0"/>
              <a:t> : </a:t>
            </a:r>
            <a:r>
              <a:rPr lang="fr-FR" sz="1600" b="1" u="sng" dirty="0" smtClean="0">
                <a:hlinkClick r:id="rId2"/>
              </a:rPr>
              <a:t>bv.ism.analytics@gmail.com</a:t>
            </a:r>
            <a:endParaRPr lang="fr-FR" sz="1600" b="1" u="sng" dirty="0" smtClean="0"/>
          </a:p>
          <a:p>
            <a:pPr marL="0" lvl="1"/>
            <a:r>
              <a:rPr lang="fr-FR" sz="1400" dirty="0" smtClean="0"/>
              <a:t>3. Go </a:t>
            </a:r>
            <a:r>
              <a:rPr lang="fr-FR" sz="1400" dirty="0"/>
              <a:t>to the Administration interface</a:t>
            </a:r>
          </a:p>
          <a:p>
            <a:pPr marL="0" lvl="1"/>
            <a:r>
              <a:rPr lang="fr-FR" sz="1400" dirty="0" smtClean="0"/>
              <a:t>4. </a:t>
            </a:r>
            <a:r>
              <a:rPr lang="fr-FR" sz="1400" dirty="0" err="1" smtClean="0"/>
              <a:t>Create</a:t>
            </a:r>
            <a:r>
              <a:rPr lang="fr-FR" sz="1400" dirty="0" smtClean="0"/>
              <a:t> </a:t>
            </a:r>
            <a:r>
              <a:rPr lang="fr-FR" sz="1400" dirty="0"/>
              <a:t>an </a:t>
            </a:r>
            <a:r>
              <a:rPr lang="fr-FR" sz="1400" dirty="0" err="1" smtClean="0"/>
              <a:t>account</a:t>
            </a:r>
            <a:r>
              <a:rPr lang="fr-FR" sz="1400" dirty="0" smtClean="0"/>
              <a:t> :</a:t>
            </a:r>
          </a:p>
          <a:p>
            <a:pPr marL="0" lvl="1"/>
            <a:endParaRPr lang="fr-FR" sz="1400" dirty="0"/>
          </a:p>
          <a:p>
            <a:pPr marL="0" lvl="1"/>
            <a:endParaRPr lang="fr-FR" sz="1400" dirty="0" smtClean="0"/>
          </a:p>
          <a:p>
            <a:pPr marL="0" lvl="1"/>
            <a:endParaRPr lang="fr-FR" sz="1400" dirty="0"/>
          </a:p>
          <a:p>
            <a:pPr marL="0" lvl="1"/>
            <a:endParaRPr lang="fr-FR" sz="1400" dirty="0" smtClean="0"/>
          </a:p>
          <a:p>
            <a:pPr marL="0" lvl="1"/>
            <a:endParaRPr lang="fr-FR" sz="1400" dirty="0"/>
          </a:p>
          <a:p>
            <a:pPr marL="0" lvl="1"/>
            <a:endParaRPr lang="fr-FR" sz="1400" dirty="0" smtClean="0"/>
          </a:p>
          <a:p>
            <a:pPr marL="0" lvl="1"/>
            <a:endParaRPr lang="fr-FR" sz="1400" dirty="0"/>
          </a:p>
          <a:p>
            <a:pPr marL="0" lvl="1"/>
            <a:r>
              <a:rPr lang="fr-FR" sz="800" dirty="0" smtClean="0"/>
              <a:t> </a:t>
            </a:r>
            <a:endParaRPr lang="fr-FR" sz="700" dirty="0" smtClean="0"/>
          </a:p>
          <a:p>
            <a:pPr marL="0" lvl="1"/>
            <a:r>
              <a:rPr lang="fr-FR" sz="1400" dirty="0" smtClean="0"/>
              <a:t>5. </a:t>
            </a:r>
            <a:r>
              <a:rPr lang="fr-FR" sz="1400" dirty="0" err="1" smtClean="0"/>
              <a:t>Fill</a:t>
            </a:r>
            <a:r>
              <a:rPr lang="fr-FR" sz="1400" dirty="0" smtClean="0"/>
              <a:t> in the </a:t>
            </a:r>
            <a:r>
              <a:rPr lang="fr-FR" sz="1400" dirty="0" err="1" smtClean="0"/>
              <a:t>account’s</a:t>
            </a:r>
            <a:r>
              <a:rPr lang="fr-FR" sz="1400" dirty="0" smtClean="0"/>
              <a:t> information </a:t>
            </a:r>
            <a:r>
              <a:rPr lang="fr-FR" sz="1400" dirty="0" err="1" smtClean="0"/>
              <a:t>according</a:t>
            </a:r>
            <a:r>
              <a:rPr lang="fr-FR" sz="1400" dirty="0" smtClean="0"/>
              <a:t> to the ISM Project Manager </a:t>
            </a:r>
            <a:r>
              <a:rPr lang="fr-FR" sz="1400" dirty="0" err="1" smtClean="0"/>
              <a:t>request</a:t>
            </a:r>
            <a:r>
              <a:rPr lang="fr-FR" sz="1400" dirty="0" smtClean="0"/>
              <a:t> :</a:t>
            </a:r>
          </a:p>
          <a:p>
            <a:pPr marL="0" lvl="1"/>
            <a:endParaRPr lang="fr-FR" sz="1400" dirty="0"/>
          </a:p>
          <a:p>
            <a:pPr marL="0" lvl="1"/>
            <a:endParaRPr lang="fr-FR" sz="1400" dirty="0" smtClean="0"/>
          </a:p>
          <a:p>
            <a:pPr marL="0" lvl="1"/>
            <a:endParaRPr lang="fr-FR" sz="1400" dirty="0"/>
          </a:p>
          <a:p>
            <a:pPr marL="0" lvl="1"/>
            <a:endParaRPr lang="fr-FR" sz="1400" dirty="0" smtClean="0"/>
          </a:p>
          <a:p>
            <a:pPr marL="0" lvl="1"/>
            <a:endParaRPr lang="fr-FR" sz="1400" dirty="0"/>
          </a:p>
          <a:p>
            <a:pPr marL="0" lvl="1"/>
            <a:endParaRPr lang="fr-FR" sz="1400" dirty="0" smtClean="0"/>
          </a:p>
          <a:p>
            <a:pPr marL="0" lvl="1"/>
            <a:endParaRPr lang="fr-FR" sz="1400" dirty="0"/>
          </a:p>
          <a:p>
            <a:pPr marL="0" lvl="1"/>
            <a:endParaRPr lang="fr-FR" sz="1400" dirty="0" smtClean="0"/>
          </a:p>
          <a:p>
            <a:pPr marL="0" lvl="1"/>
            <a:endParaRPr lang="fr-FR" sz="1400" dirty="0"/>
          </a:p>
          <a:p>
            <a:pPr marL="0" lvl="1"/>
            <a:endParaRPr lang="fr-FR" sz="1400" dirty="0" smtClean="0"/>
          </a:p>
          <a:p>
            <a:pPr marL="0" lvl="1"/>
            <a:endParaRPr lang="fr-FR" sz="1400" dirty="0"/>
          </a:p>
          <a:p>
            <a:pPr marL="0" lvl="1"/>
            <a:endParaRPr lang="fr-FR" sz="1400" dirty="0" smtClean="0"/>
          </a:p>
          <a:p>
            <a:r>
              <a:rPr lang="fr-FR" sz="1400" dirty="0"/>
              <a:t>6. Click on « </a:t>
            </a:r>
            <a:r>
              <a:rPr lang="fr-FR" sz="1400" dirty="0" err="1"/>
              <a:t>Get</a:t>
            </a:r>
            <a:r>
              <a:rPr lang="fr-FR" sz="1400" dirty="0"/>
              <a:t> </a:t>
            </a:r>
            <a:r>
              <a:rPr lang="fr-FR" sz="1400" dirty="0" err="1"/>
              <a:t>tracking</a:t>
            </a:r>
            <a:r>
              <a:rPr lang="fr-FR" sz="1400" dirty="0"/>
              <a:t> ID »</a:t>
            </a:r>
          </a:p>
          <a:p>
            <a:r>
              <a:rPr lang="fr-FR" sz="1400" dirty="0"/>
              <a:t>7. </a:t>
            </a:r>
            <a:r>
              <a:rPr lang="fr-FR" sz="1400" dirty="0" err="1"/>
              <a:t>Accept</a:t>
            </a:r>
            <a:r>
              <a:rPr lang="fr-FR" sz="1400" dirty="0"/>
              <a:t> the Google </a:t>
            </a:r>
            <a:r>
              <a:rPr lang="fr-FR" sz="1400" dirty="0" err="1" smtClean="0"/>
              <a:t>Analytics</a:t>
            </a:r>
            <a:r>
              <a:rPr lang="fr-FR" sz="1400" dirty="0" smtClean="0"/>
              <a:t>’ </a:t>
            </a:r>
            <a:r>
              <a:rPr lang="fr-FR" sz="1400" dirty="0" err="1"/>
              <a:t>terms</a:t>
            </a:r>
            <a:r>
              <a:rPr lang="fr-FR" sz="1400" dirty="0"/>
              <a:t> </a:t>
            </a:r>
            <a:r>
              <a:rPr lang="fr-FR" sz="1400" dirty="0" smtClean="0"/>
              <a:t>of </a:t>
            </a:r>
            <a:r>
              <a:rPr lang="fr-FR" sz="1400" dirty="0"/>
              <a:t>Service Agreement</a:t>
            </a:r>
          </a:p>
          <a:p>
            <a:pPr marL="0" lvl="1"/>
            <a:endParaRPr lang="fr-FR" sz="1400" dirty="0"/>
          </a:p>
          <a:p>
            <a:endParaRPr lang="fr-FR" sz="1400" dirty="0"/>
          </a:p>
        </p:txBody>
      </p:sp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4710" y="1556740"/>
            <a:ext cx="2356541" cy="15945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895" y="3645030"/>
            <a:ext cx="2943225" cy="24574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à coins arrondis 13"/>
          <p:cNvSpPr/>
          <p:nvPr/>
        </p:nvSpPr>
        <p:spPr bwMode="auto">
          <a:xfrm>
            <a:off x="2000590" y="332570"/>
            <a:ext cx="352849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Create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ccount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in Google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9462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851828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272351" y="962683"/>
            <a:ext cx="936129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u="sng" dirty="0" err="1" smtClean="0"/>
              <a:t>Result</a:t>
            </a:r>
            <a:endParaRPr lang="fr-FR" sz="1600" u="sng" dirty="0" smtClean="0"/>
          </a:p>
          <a:p>
            <a:endParaRPr lang="fr-FR" sz="1400" dirty="0" smtClean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400" dirty="0" smtClean="0"/>
              <a:t>The </a:t>
            </a:r>
            <a:r>
              <a:rPr lang="fr-FR" sz="1400" dirty="0" err="1" smtClean="0"/>
              <a:t>account</a:t>
            </a:r>
            <a:r>
              <a:rPr lang="fr-FR" sz="1400" dirty="0" smtClean="0"/>
              <a:t>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created</a:t>
            </a:r>
            <a:endParaRPr lang="fr-FR" sz="1400" dirty="0" smtClean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400" dirty="0" smtClean="0"/>
              <a:t>The </a:t>
            </a:r>
            <a:r>
              <a:rPr lang="fr-FR" sz="1400" dirty="0" err="1" smtClean="0"/>
              <a:t>property</a:t>
            </a:r>
            <a:r>
              <a:rPr lang="fr-FR" sz="1400" dirty="0" smtClean="0"/>
              <a:t>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automatically</a:t>
            </a:r>
            <a:r>
              <a:rPr lang="fr-FR" sz="1400" dirty="0" smtClean="0"/>
              <a:t> </a:t>
            </a:r>
            <a:r>
              <a:rPr lang="fr-FR" sz="1400" dirty="0" err="1" smtClean="0"/>
              <a:t>created</a:t>
            </a:r>
            <a:endParaRPr lang="fr-FR" sz="1400" dirty="0" smtClean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400" dirty="0" smtClean="0"/>
              <a:t>The </a:t>
            </a:r>
            <a:r>
              <a:rPr lang="fr-FR" sz="1400" dirty="0" err="1" smtClean="0"/>
              <a:t>view</a:t>
            </a:r>
            <a:r>
              <a:rPr lang="fr-FR" sz="1400" dirty="0" smtClean="0"/>
              <a:t> </a:t>
            </a:r>
            <a:r>
              <a:rPr lang="fr-FR" sz="1400" dirty="0" err="1" smtClean="0"/>
              <a:t>is</a:t>
            </a:r>
            <a:r>
              <a:rPr lang="fr-FR" sz="1400" dirty="0" smtClean="0"/>
              <a:t> </a:t>
            </a:r>
            <a:r>
              <a:rPr lang="fr-FR" sz="1400" dirty="0" err="1" smtClean="0"/>
              <a:t>automatically</a:t>
            </a:r>
            <a:r>
              <a:rPr lang="fr-FR" sz="1400" dirty="0" smtClean="0"/>
              <a:t> </a:t>
            </a:r>
            <a:r>
              <a:rPr lang="fr-FR" sz="1400" dirty="0" err="1" smtClean="0"/>
              <a:t>created</a:t>
            </a:r>
            <a:endParaRPr lang="fr-FR" sz="1400" dirty="0" smtClean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400" dirty="0" smtClean="0"/>
              <a:t>The </a:t>
            </a:r>
            <a:r>
              <a:rPr lang="fr-FR" sz="1400" dirty="0" err="1" smtClean="0"/>
              <a:t>tracking</a:t>
            </a:r>
            <a:r>
              <a:rPr lang="fr-FR" sz="1400" dirty="0" smtClean="0"/>
              <a:t> ID and the script to </a:t>
            </a:r>
            <a:r>
              <a:rPr lang="fr-FR" sz="1400" dirty="0" err="1" smtClean="0"/>
              <a:t>send</a:t>
            </a:r>
            <a:r>
              <a:rPr lang="fr-FR" sz="1400" dirty="0" smtClean="0"/>
              <a:t> to the JAVA DELIVERY team are </a:t>
            </a:r>
            <a:r>
              <a:rPr lang="fr-FR" sz="1400" dirty="0" err="1" smtClean="0"/>
              <a:t>available</a:t>
            </a:r>
            <a:r>
              <a:rPr lang="fr-FR" sz="1400" dirty="0" smtClean="0"/>
              <a:t> :</a:t>
            </a:r>
          </a:p>
          <a:p>
            <a:endParaRPr lang="fr-FR" sz="1400" dirty="0"/>
          </a:p>
        </p:txBody>
      </p:sp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1200" y="2780910"/>
            <a:ext cx="6172200" cy="29432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à coins arrondis 9"/>
          <p:cNvSpPr/>
          <p:nvPr/>
        </p:nvSpPr>
        <p:spPr bwMode="auto">
          <a:xfrm>
            <a:off x="2000590" y="332570"/>
            <a:ext cx="3528490" cy="301866"/>
          </a:xfrm>
          <a:prstGeom prst="roundRect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70000"/>
              </a:spcBef>
            </a:pP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Create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ccount</a:t>
            </a:r>
            <a:r>
              <a:rPr lang="fr-FR" b="1" kern="0" dirty="0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 in Google </a:t>
            </a:r>
            <a:r>
              <a:rPr lang="fr-FR" b="1" kern="0" dirty="0" err="1">
                <a:solidFill>
                  <a:schemeClr val="hlink"/>
                </a:solidFill>
                <a:latin typeface="Calibri" pitchFamily="34" charset="0"/>
                <a:ea typeface="+mj-ea"/>
                <a:cs typeface="+mj-cs"/>
              </a:rPr>
              <a:t>Analytics</a:t>
            </a:r>
            <a:endParaRPr lang="fr-FR" b="1" kern="0" dirty="0">
              <a:solidFill>
                <a:schemeClr val="hlink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06157" y="282056"/>
            <a:ext cx="107433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16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ISM EBIZ</a:t>
            </a:r>
            <a:endParaRPr lang="fr-FR" sz="16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5027">
            <a:off x="1244462" y="316486"/>
            <a:ext cx="576248" cy="38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9262373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20100127 - BV-Paysage-FR - with copyright">
  <a:themeElements>
    <a:clrScheme name="Template 2007 Bureau Veritas - Paysage FRA 1">
      <a:dk1>
        <a:srgbClr val="19324B"/>
      </a:dk1>
      <a:lt1>
        <a:srgbClr val="FFFFFF"/>
      </a:lt1>
      <a:dk2>
        <a:srgbClr val="EC9BA2"/>
      </a:dk2>
      <a:lt2>
        <a:srgbClr val="68665C"/>
      </a:lt2>
      <a:accent1>
        <a:srgbClr val="4F74AA"/>
      </a:accent1>
      <a:accent2>
        <a:srgbClr val="BBBAB1"/>
      </a:accent2>
      <a:accent3>
        <a:srgbClr val="FFFFFF"/>
      </a:accent3>
      <a:accent4>
        <a:srgbClr val="14293F"/>
      </a:accent4>
      <a:accent5>
        <a:srgbClr val="B2BCD2"/>
      </a:accent5>
      <a:accent6>
        <a:srgbClr val="A9A8A0"/>
      </a:accent6>
      <a:hlink>
        <a:srgbClr val="B0002D"/>
      </a:hlink>
      <a:folHlink>
        <a:srgbClr val="DBAC13"/>
      </a:folHlink>
    </a:clrScheme>
    <a:fontScheme name="Template 2007 Bureau Veritas - Paysage F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70000"/>
          </a:spcBef>
          <a:spcAft>
            <a:spcPct val="0"/>
          </a:spcAft>
          <a:buClrTx/>
          <a:buSzTx/>
          <a:buFontTx/>
          <a:buChar char="•"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70000"/>
          </a:spcBef>
          <a:spcAft>
            <a:spcPct val="0"/>
          </a:spcAft>
          <a:buClrTx/>
          <a:buSzTx/>
          <a:buFontTx/>
          <a:buChar char="•"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mplate 2007 Bureau Veritas - Paysage FRA 1">
        <a:dk1>
          <a:srgbClr val="19324B"/>
        </a:dk1>
        <a:lt1>
          <a:srgbClr val="FFFFFF"/>
        </a:lt1>
        <a:dk2>
          <a:srgbClr val="EC9BA2"/>
        </a:dk2>
        <a:lt2>
          <a:srgbClr val="68665C"/>
        </a:lt2>
        <a:accent1>
          <a:srgbClr val="4F74AA"/>
        </a:accent1>
        <a:accent2>
          <a:srgbClr val="BBBAB1"/>
        </a:accent2>
        <a:accent3>
          <a:srgbClr val="FFFFFF"/>
        </a:accent3>
        <a:accent4>
          <a:srgbClr val="14293F"/>
        </a:accent4>
        <a:accent5>
          <a:srgbClr val="B2BCD2"/>
        </a:accent5>
        <a:accent6>
          <a:srgbClr val="A9A8A0"/>
        </a:accent6>
        <a:hlink>
          <a:srgbClr val="B0002D"/>
        </a:hlink>
        <a:folHlink>
          <a:srgbClr val="DBAC1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792</TotalTime>
  <Words>1559</Words>
  <Application>Microsoft Office PowerPoint</Application>
  <PresentationFormat>A4 Paper (210x297 mm)</PresentationFormat>
  <Paragraphs>334</Paragraphs>
  <Slides>2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Template 20100127 - BV-Paysage-FR - with copyright</vt:lpstr>
      <vt:lpstr>think-cell Slide</vt:lpstr>
      <vt:lpstr>PowerPoint Presentation</vt:lpstr>
      <vt:lpstr>PROCESS : GA Project cre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amille JUGUET (cjuguet)</dc:creator>
  <cp:lastModifiedBy>Ankur KHOSLA</cp:lastModifiedBy>
  <cp:revision>780</cp:revision>
  <cp:lastPrinted>2011-09-22T15:06:49Z</cp:lastPrinted>
  <dcterms:created xsi:type="dcterms:W3CDTF">2016-03-17T10:03:11Z</dcterms:created>
  <dcterms:modified xsi:type="dcterms:W3CDTF">2017-06-29T06:10:38Z</dcterms:modified>
</cp:coreProperties>
</file>